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4.xml" ContentType="application/vnd.openxmlformats-officedocument.presentationml.slide+xml"/>
  <Override PartName="/ppt/diagrams/data2.xml" ContentType="application/vnd.openxmlformats-officedocument.drawingml.diagramData+xml"/>
  <Override PartName="/ppt/diagrams/data1.xml" ContentType="application/vnd.openxmlformats-officedocument.drawingml.diagramData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1.xml" ContentType="application/vnd.openxmlformats-officedocument.presentationml.slide+xml"/>
  <Override PartName="/ppt/slides/slide1.xml" ContentType="application/vnd.openxmlformats-officedocument.presentationml.slide+xml"/>
  <Override PartName="/ppt/slides/slide12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Layouts/slideLayout120.xml" ContentType="application/vnd.openxmlformats-officedocument.presentationml.slideLayout+xml"/>
  <Override PartName="/ppt/slideLayouts/slideLayout118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117.xml" ContentType="application/vnd.openxmlformats-officedocument.presentationml.slideLayout+xml"/>
  <Override PartName="/ppt/slideLayouts/slideLayout116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119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112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1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0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2.xml" ContentType="application/vnd.openxmlformats-officedocument.presentationml.slideLayout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theme/theme9.xml" ContentType="application/vnd.openxmlformats-officedocument.theme+xml"/>
  <Override PartName="/ppt/diagrams/colors1.xml" ContentType="application/vnd.openxmlformats-officedocument.drawingml.diagramColors+xml"/>
  <Override PartName="/ppt/theme/theme7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4.xml" ContentType="application/vnd.openxmlformats-officedocument.theme+xml"/>
  <Override PartName="/ppt/diagrams/drawing1.xml" ContentType="application/vnd.ms-office.drawingml.diagramDrawing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6.xml" ContentType="application/vnd.openxmlformats-officedocument.theme+xml"/>
  <Override PartName="/ppt/theme/theme10.xml" ContentType="application/vnd.openxmlformats-officedocument.theme+xml"/>
  <Override PartName="/ppt/theme/theme8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5.xml" ContentType="application/vnd.openxmlformats-officedocument.theme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ppt/tags/tag29.xml" ContentType="application/vnd.openxmlformats-officedocument.presentationml.tags+xml"/>
  <Override PartName="/ppt/tags/tag39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3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34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38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  <p:sldMasterId id="2147483667" r:id="rId2"/>
    <p:sldMasterId id="2147483679" r:id="rId3"/>
    <p:sldMasterId id="2147483691" r:id="rId4"/>
    <p:sldMasterId id="2147483703" r:id="rId5"/>
    <p:sldMasterId id="2147483715" r:id="rId6"/>
    <p:sldMasterId id="2147483739" r:id="rId7"/>
    <p:sldMasterId id="2147483767" r:id="rId8"/>
    <p:sldMasterId id="2147483780" r:id="rId9"/>
    <p:sldMasterId id="2147483804" r:id="rId10"/>
    <p:sldMasterId id="2147483816" r:id="rId11"/>
  </p:sldMasterIdLst>
  <p:notesMasterIdLst>
    <p:notesMasterId r:id="rId28"/>
  </p:notesMasterIdLst>
  <p:handoutMasterIdLst>
    <p:handoutMasterId r:id="rId29"/>
  </p:handoutMasterIdLst>
  <p:sldIdLst>
    <p:sldId id="262" r:id="rId12"/>
    <p:sldId id="264" r:id="rId13"/>
    <p:sldId id="286" r:id="rId14"/>
    <p:sldId id="265" r:id="rId15"/>
    <p:sldId id="293" r:id="rId16"/>
    <p:sldId id="295" r:id="rId17"/>
    <p:sldId id="298" r:id="rId18"/>
    <p:sldId id="291" r:id="rId19"/>
    <p:sldId id="274" r:id="rId20"/>
    <p:sldId id="287" r:id="rId21"/>
    <p:sldId id="288" r:id="rId22"/>
    <p:sldId id="289" r:id="rId23"/>
    <p:sldId id="290" r:id="rId24"/>
    <p:sldId id="275" r:id="rId25"/>
    <p:sldId id="296" r:id="rId26"/>
    <p:sldId id="299" r:id="rId2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FAB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69" autoAdjust="0"/>
    <p:restoredTop sz="92166" autoAdjust="0"/>
  </p:normalViewPr>
  <p:slideViewPr>
    <p:cSldViewPr>
      <p:cViewPr>
        <p:scale>
          <a:sx n="74" d="100"/>
          <a:sy n="74" d="100"/>
        </p:scale>
        <p:origin x="-1027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139EEF-8FF3-401D-95E9-9A6056678C61}" type="doc">
      <dgm:prSet loTypeId="urn:microsoft.com/office/officeart/2005/8/layout/radial2" loCatId="relationship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6924859-B87A-4379-92A3-2DC6812618F2}">
      <dgm:prSet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en-US" sz="2800" dirty="0" smtClean="0"/>
            <a:t>Build communities to drive grass-roots support</a:t>
          </a:r>
          <a:endParaRPr lang="en-US" sz="2800" dirty="0"/>
        </a:p>
      </dgm:t>
    </dgm:pt>
    <dgm:pt modelId="{577EC808-0D54-4659-83B9-4757AFEA1DE4}" type="parTrans" cxnId="{EF2C80DB-E4ED-4DA3-BA2A-E4BD6809CBE5}">
      <dgm:prSet/>
      <dgm:spPr/>
      <dgm:t>
        <a:bodyPr/>
        <a:lstStyle/>
        <a:p>
          <a:endParaRPr lang="en-US"/>
        </a:p>
      </dgm:t>
    </dgm:pt>
    <dgm:pt modelId="{5E4FC105-7CDF-42BA-9856-2C1F0B5AB716}" type="sibTrans" cxnId="{EF2C80DB-E4ED-4DA3-BA2A-E4BD6809CBE5}">
      <dgm:prSet/>
      <dgm:spPr/>
      <dgm:t>
        <a:bodyPr/>
        <a:lstStyle/>
        <a:p>
          <a:endParaRPr lang="en-US"/>
        </a:p>
      </dgm:t>
    </dgm:pt>
    <dgm:pt modelId="{B59080EB-8EF7-47C2-973E-6E7ED5182F52}">
      <dgm:prSet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en-US" sz="2800" dirty="0" smtClean="0"/>
            <a:t>Instill Agile values and Scrum Enterprise</a:t>
          </a:r>
          <a:endParaRPr lang="en-US" sz="2800" dirty="0"/>
        </a:p>
      </dgm:t>
    </dgm:pt>
    <dgm:pt modelId="{4A99400B-9F7D-486E-AFF9-037DE5132360}" type="parTrans" cxnId="{65D42570-6401-425D-9309-B84911C1A2F7}">
      <dgm:prSet/>
      <dgm:spPr/>
      <dgm:t>
        <a:bodyPr/>
        <a:lstStyle/>
        <a:p>
          <a:endParaRPr lang="en-US"/>
        </a:p>
      </dgm:t>
    </dgm:pt>
    <dgm:pt modelId="{4DE665AF-A534-49CE-BB8F-6BF18C1C6EC0}" type="sibTrans" cxnId="{65D42570-6401-425D-9309-B84911C1A2F7}">
      <dgm:prSet/>
      <dgm:spPr/>
      <dgm:t>
        <a:bodyPr/>
        <a:lstStyle/>
        <a:p>
          <a:endParaRPr lang="en-US"/>
        </a:p>
      </dgm:t>
    </dgm:pt>
    <dgm:pt modelId="{03C38F9F-491D-4CAB-9AB7-0EF191A268AC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en-US" sz="2800" dirty="0" smtClean="0"/>
            <a:t>Training Teams &amp; Mentor Scrum Masters</a:t>
          </a:r>
          <a:endParaRPr lang="en-US" sz="1800" dirty="0"/>
        </a:p>
      </dgm:t>
    </dgm:pt>
    <dgm:pt modelId="{D8017FB1-AEF6-4CBE-978F-4501AF3F19BB}" type="parTrans" cxnId="{1C362E0E-0972-4F98-BDA8-003BE4730758}">
      <dgm:prSet/>
      <dgm:spPr/>
      <dgm:t>
        <a:bodyPr/>
        <a:lstStyle/>
        <a:p>
          <a:endParaRPr lang="en-US"/>
        </a:p>
      </dgm:t>
    </dgm:pt>
    <dgm:pt modelId="{E26C9F75-6762-411B-9794-92419F67116A}" type="sibTrans" cxnId="{1C362E0E-0972-4F98-BDA8-003BE4730758}">
      <dgm:prSet/>
      <dgm:spPr/>
      <dgm:t>
        <a:bodyPr/>
        <a:lstStyle/>
        <a:p>
          <a:endParaRPr lang="en-US"/>
        </a:p>
      </dgm:t>
    </dgm:pt>
    <dgm:pt modelId="{69F71402-00B6-4E17-94D7-8A2FA0AF04EF}" type="pres">
      <dgm:prSet presAssocID="{5F139EEF-8FF3-401D-95E9-9A6056678C61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062D69-799A-4D9F-8B61-EFC682B5F9D8}" type="pres">
      <dgm:prSet presAssocID="{5F139EEF-8FF3-401D-95E9-9A6056678C61}" presName="cycle" presStyleCnt="0"/>
      <dgm:spPr/>
    </dgm:pt>
    <dgm:pt modelId="{748DF879-009A-4686-8055-3C3F7178167E}" type="pres">
      <dgm:prSet presAssocID="{5F139EEF-8FF3-401D-95E9-9A6056678C61}" presName="centerShape" presStyleCnt="0"/>
      <dgm:spPr/>
    </dgm:pt>
    <dgm:pt modelId="{227801A2-1F5C-443E-B778-2D33DFC99A7E}" type="pres">
      <dgm:prSet presAssocID="{5F139EEF-8FF3-401D-95E9-9A6056678C61}" presName="connSite" presStyleLbl="node1" presStyleIdx="0" presStyleCnt="4"/>
      <dgm:spPr/>
    </dgm:pt>
    <dgm:pt modelId="{B2E83F45-394A-4EC3-B0B6-8E22A3C0D4F1}" type="pres">
      <dgm:prSet presAssocID="{5F139EEF-8FF3-401D-95E9-9A6056678C61}" presName="visible" presStyleLbl="node1" presStyleIdx="0" presStyleCnt="4" custLinFactNeighborX="-18307" custLinFactNeighborY="-2743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24076A1A-21DB-4964-A686-6F820C10100A}" type="pres">
      <dgm:prSet presAssocID="{577EC808-0D54-4659-83B9-4757AFEA1DE4}" presName="Name25" presStyleLbl="parChTrans1D1" presStyleIdx="0" presStyleCnt="3"/>
      <dgm:spPr/>
      <dgm:t>
        <a:bodyPr/>
        <a:lstStyle/>
        <a:p>
          <a:endParaRPr lang="en-US"/>
        </a:p>
      </dgm:t>
    </dgm:pt>
    <dgm:pt modelId="{9C6C7B2B-576E-4BFE-B3F0-FB9B7938F540}" type="pres">
      <dgm:prSet presAssocID="{F6924859-B87A-4379-92A3-2DC6812618F2}" presName="node" presStyleCnt="0"/>
      <dgm:spPr/>
    </dgm:pt>
    <dgm:pt modelId="{9456688D-4A7C-4CBA-B3B5-67D005FD3780}" type="pres">
      <dgm:prSet presAssocID="{F6924859-B87A-4379-92A3-2DC6812618F2}" presName="parentNode" presStyleLbl="node1" presStyleIdx="1" presStyleCnt="4" custScaleX="248444" custScaleY="221275" custLinFactX="100000" custLinFactNeighborX="128175" custLinFactNeighborY="2905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E91DB6-2C98-429D-9712-8D392E15A7B2}" type="pres">
      <dgm:prSet presAssocID="{F6924859-B87A-4379-92A3-2DC6812618F2}" presName="childNode" presStyleLbl="revTx" presStyleIdx="0" presStyleCnt="0">
        <dgm:presLayoutVars>
          <dgm:bulletEnabled val="1"/>
        </dgm:presLayoutVars>
      </dgm:prSet>
      <dgm:spPr/>
    </dgm:pt>
    <dgm:pt modelId="{E1D5DF10-9981-4CDA-B831-9334D06C576F}" type="pres">
      <dgm:prSet presAssocID="{4A99400B-9F7D-486E-AFF9-037DE5132360}" presName="Name25" presStyleLbl="parChTrans1D1" presStyleIdx="1" presStyleCnt="3"/>
      <dgm:spPr/>
      <dgm:t>
        <a:bodyPr/>
        <a:lstStyle/>
        <a:p>
          <a:endParaRPr lang="en-US"/>
        </a:p>
      </dgm:t>
    </dgm:pt>
    <dgm:pt modelId="{D1F95075-F4A7-4568-8CD5-7F1AAE685877}" type="pres">
      <dgm:prSet presAssocID="{B59080EB-8EF7-47C2-973E-6E7ED5182F52}" presName="node" presStyleCnt="0"/>
      <dgm:spPr/>
    </dgm:pt>
    <dgm:pt modelId="{09C41E39-9B81-4896-B3FF-A5B5275BA965}" type="pres">
      <dgm:prSet presAssocID="{B59080EB-8EF7-47C2-973E-6E7ED5182F52}" presName="parentNode" presStyleLbl="node1" presStyleIdx="2" presStyleCnt="4" custScaleX="243531" custScaleY="22127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0CF4B6-D4D0-499E-B846-91BD6BC58A2E}" type="pres">
      <dgm:prSet presAssocID="{B59080EB-8EF7-47C2-973E-6E7ED5182F52}" presName="childNode" presStyleLbl="revTx" presStyleIdx="0" presStyleCnt="0">
        <dgm:presLayoutVars>
          <dgm:bulletEnabled val="1"/>
        </dgm:presLayoutVars>
      </dgm:prSet>
      <dgm:spPr/>
    </dgm:pt>
    <dgm:pt modelId="{288179E4-6644-420A-A911-2B94907AADFB}" type="pres">
      <dgm:prSet presAssocID="{D8017FB1-AEF6-4CBE-978F-4501AF3F19BB}" presName="Name25" presStyleLbl="parChTrans1D1" presStyleIdx="2" presStyleCnt="3"/>
      <dgm:spPr/>
      <dgm:t>
        <a:bodyPr/>
        <a:lstStyle/>
        <a:p>
          <a:endParaRPr lang="en-US"/>
        </a:p>
      </dgm:t>
    </dgm:pt>
    <dgm:pt modelId="{84D86491-A3DF-4EDB-8170-8894B6000860}" type="pres">
      <dgm:prSet presAssocID="{03C38F9F-491D-4CAB-9AB7-0EF191A268AC}" presName="node" presStyleCnt="0"/>
      <dgm:spPr/>
    </dgm:pt>
    <dgm:pt modelId="{1FF93A53-2EF8-4998-A7E5-1BBA5BFD020E}" type="pres">
      <dgm:prSet presAssocID="{03C38F9F-491D-4CAB-9AB7-0EF191A268AC}" presName="parentNode" presStyleLbl="node1" presStyleIdx="3" presStyleCnt="4" custScaleX="260919" custScaleY="221275" custLinFactX="100000" custLinFactNeighborX="117007" custLinFactNeighborY="-2095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26C9C9-232C-432A-8641-5320F0D4FF9B}" type="pres">
      <dgm:prSet presAssocID="{03C38F9F-491D-4CAB-9AB7-0EF191A268AC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C362E0E-0972-4F98-BDA8-003BE4730758}" srcId="{5F139EEF-8FF3-401D-95E9-9A6056678C61}" destId="{03C38F9F-491D-4CAB-9AB7-0EF191A268AC}" srcOrd="2" destOrd="0" parTransId="{D8017FB1-AEF6-4CBE-978F-4501AF3F19BB}" sibTransId="{E26C9F75-6762-411B-9794-92419F67116A}"/>
    <dgm:cxn modelId="{4B1F93B5-1C02-4C4D-A0D8-D862DBB1C8F3}" type="presOf" srcId="{4A99400B-9F7D-486E-AFF9-037DE5132360}" destId="{E1D5DF10-9981-4CDA-B831-9334D06C576F}" srcOrd="0" destOrd="0" presId="urn:microsoft.com/office/officeart/2005/8/layout/radial2"/>
    <dgm:cxn modelId="{D060A1CB-89B0-4ACB-B8DD-3CEEC10E85A9}" type="presOf" srcId="{5F139EEF-8FF3-401D-95E9-9A6056678C61}" destId="{69F71402-00B6-4E17-94D7-8A2FA0AF04EF}" srcOrd="0" destOrd="0" presId="urn:microsoft.com/office/officeart/2005/8/layout/radial2"/>
    <dgm:cxn modelId="{926CA91B-A8E3-4F04-98F7-76038B38207C}" type="presOf" srcId="{03C38F9F-491D-4CAB-9AB7-0EF191A268AC}" destId="{1FF93A53-2EF8-4998-A7E5-1BBA5BFD020E}" srcOrd="0" destOrd="0" presId="urn:microsoft.com/office/officeart/2005/8/layout/radial2"/>
    <dgm:cxn modelId="{0641AFA6-1F17-4595-B6D4-EE8A5D2C7025}" type="presOf" srcId="{F6924859-B87A-4379-92A3-2DC6812618F2}" destId="{9456688D-4A7C-4CBA-B3B5-67D005FD3780}" srcOrd="0" destOrd="0" presId="urn:microsoft.com/office/officeart/2005/8/layout/radial2"/>
    <dgm:cxn modelId="{68995045-906E-432B-80DB-9E2C4B1BC249}" type="presOf" srcId="{577EC808-0D54-4659-83B9-4757AFEA1DE4}" destId="{24076A1A-21DB-4964-A686-6F820C10100A}" srcOrd="0" destOrd="0" presId="urn:microsoft.com/office/officeart/2005/8/layout/radial2"/>
    <dgm:cxn modelId="{EF2C80DB-E4ED-4DA3-BA2A-E4BD6809CBE5}" srcId="{5F139EEF-8FF3-401D-95E9-9A6056678C61}" destId="{F6924859-B87A-4379-92A3-2DC6812618F2}" srcOrd="0" destOrd="0" parTransId="{577EC808-0D54-4659-83B9-4757AFEA1DE4}" sibTransId="{5E4FC105-7CDF-42BA-9856-2C1F0B5AB716}"/>
    <dgm:cxn modelId="{65D42570-6401-425D-9309-B84911C1A2F7}" srcId="{5F139EEF-8FF3-401D-95E9-9A6056678C61}" destId="{B59080EB-8EF7-47C2-973E-6E7ED5182F52}" srcOrd="1" destOrd="0" parTransId="{4A99400B-9F7D-486E-AFF9-037DE5132360}" sibTransId="{4DE665AF-A534-49CE-BB8F-6BF18C1C6EC0}"/>
    <dgm:cxn modelId="{77D1FA35-DB0D-46B8-9797-992B82357516}" type="presOf" srcId="{B59080EB-8EF7-47C2-973E-6E7ED5182F52}" destId="{09C41E39-9B81-4896-B3FF-A5B5275BA965}" srcOrd="0" destOrd="0" presId="urn:microsoft.com/office/officeart/2005/8/layout/radial2"/>
    <dgm:cxn modelId="{90F03C35-65FF-4F74-B253-A52CCAF7757D}" type="presOf" srcId="{D8017FB1-AEF6-4CBE-978F-4501AF3F19BB}" destId="{288179E4-6644-420A-A911-2B94907AADFB}" srcOrd="0" destOrd="0" presId="urn:microsoft.com/office/officeart/2005/8/layout/radial2"/>
    <dgm:cxn modelId="{BC2DE26E-3F47-4B81-AF31-30DE8E8054D1}" type="presParOf" srcId="{69F71402-00B6-4E17-94D7-8A2FA0AF04EF}" destId="{DE062D69-799A-4D9F-8B61-EFC682B5F9D8}" srcOrd="0" destOrd="0" presId="urn:microsoft.com/office/officeart/2005/8/layout/radial2"/>
    <dgm:cxn modelId="{6B5B1DF7-6DF8-401C-AF47-9E72358702CD}" type="presParOf" srcId="{DE062D69-799A-4D9F-8B61-EFC682B5F9D8}" destId="{748DF879-009A-4686-8055-3C3F7178167E}" srcOrd="0" destOrd="0" presId="urn:microsoft.com/office/officeart/2005/8/layout/radial2"/>
    <dgm:cxn modelId="{F546EA72-7BD1-4B9C-8A90-AAAAA8D4B806}" type="presParOf" srcId="{748DF879-009A-4686-8055-3C3F7178167E}" destId="{227801A2-1F5C-443E-B778-2D33DFC99A7E}" srcOrd="0" destOrd="0" presId="urn:microsoft.com/office/officeart/2005/8/layout/radial2"/>
    <dgm:cxn modelId="{6FEC7975-A251-4307-9729-1168E118CE79}" type="presParOf" srcId="{748DF879-009A-4686-8055-3C3F7178167E}" destId="{B2E83F45-394A-4EC3-B0B6-8E22A3C0D4F1}" srcOrd="1" destOrd="0" presId="urn:microsoft.com/office/officeart/2005/8/layout/radial2"/>
    <dgm:cxn modelId="{CB0650E2-463D-4524-936A-40F5C23123BE}" type="presParOf" srcId="{DE062D69-799A-4D9F-8B61-EFC682B5F9D8}" destId="{24076A1A-21DB-4964-A686-6F820C10100A}" srcOrd="1" destOrd="0" presId="urn:microsoft.com/office/officeart/2005/8/layout/radial2"/>
    <dgm:cxn modelId="{7EAC6493-2BDB-45DF-AEDF-3ECC035FBD4A}" type="presParOf" srcId="{DE062D69-799A-4D9F-8B61-EFC682B5F9D8}" destId="{9C6C7B2B-576E-4BFE-B3F0-FB9B7938F540}" srcOrd="2" destOrd="0" presId="urn:microsoft.com/office/officeart/2005/8/layout/radial2"/>
    <dgm:cxn modelId="{9E5D5CF5-2567-4DF3-B313-E9701AEF6BC4}" type="presParOf" srcId="{9C6C7B2B-576E-4BFE-B3F0-FB9B7938F540}" destId="{9456688D-4A7C-4CBA-B3B5-67D005FD3780}" srcOrd="0" destOrd="0" presId="urn:microsoft.com/office/officeart/2005/8/layout/radial2"/>
    <dgm:cxn modelId="{2A87EDC1-9780-47AB-B012-4210423EB99A}" type="presParOf" srcId="{9C6C7B2B-576E-4BFE-B3F0-FB9B7938F540}" destId="{ACE91DB6-2C98-429D-9712-8D392E15A7B2}" srcOrd="1" destOrd="0" presId="urn:microsoft.com/office/officeart/2005/8/layout/radial2"/>
    <dgm:cxn modelId="{AE984A2C-1DBA-4D6F-9FA6-371CA709FC4E}" type="presParOf" srcId="{DE062D69-799A-4D9F-8B61-EFC682B5F9D8}" destId="{E1D5DF10-9981-4CDA-B831-9334D06C576F}" srcOrd="3" destOrd="0" presId="urn:microsoft.com/office/officeart/2005/8/layout/radial2"/>
    <dgm:cxn modelId="{4D17E522-02F9-4CAA-AA14-39B946033294}" type="presParOf" srcId="{DE062D69-799A-4D9F-8B61-EFC682B5F9D8}" destId="{D1F95075-F4A7-4568-8CD5-7F1AAE685877}" srcOrd="4" destOrd="0" presId="urn:microsoft.com/office/officeart/2005/8/layout/radial2"/>
    <dgm:cxn modelId="{5EEB9AFD-1A7E-46F2-B8AC-2E207DBFB2C1}" type="presParOf" srcId="{D1F95075-F4A7-4568-8CD5-7F1AAE685877}" destId="{09C41E39-9B81-4896-B3FF-A5B5275BA965}" srcOrd="0" destOrd="0" presId="urn:microsoft.com/office/officeart/2005/8/layout/radial2"/>
    <dgm:cxn modelId="{961508E0-4C06-431B-800C-D1A0094A541D}" type="presParOf" srcId="{D1F95075-F4A7-4568-8CD5-7F1AAE685877}" destId="{8A0CF4B6-D4D0-499E-B846-91BD6BC58A2E}" srcOrd="1" destOrd="0" presId="urn:microsoft.com/office/officeart/2005/8/layout/radial2"/>
    <dgm:cxn modelId="{F1FBCFB9-BF3A-4022-B32B-781D485E4D24}" type="presParOf" srcId="{DE062D69-799A-4D9F-8B61-EFC682B5F9D8}" destId="{288179E4-6644-420A-A911-2B94907AADFB}" srcOrd="5" destOrd="0" presId="urn:microsoft.com/office/officeart/2005/8/layout/radial2"/>
    <dgm:cxn modelId="{A819AF5A-6300-45C3-99A8-E1A32B65DC2B}" type="presParOf" srcId="{DE062D69-799A-4D9F-8B61-EFC682B5F9D8}" destId="{84D86491-A3DF-4EDB-8170-8894B6000860}" srcOrd="6" destOrd="0" presId="urn:microsoft.com/office/officeart/2005/8/layout/radial2"/>
    <dgm:cxn modelId="{115DB5FA-C6F3-4D29-93F7-58582577CD91}" type="presParOf" srcId="{84D86491-A3DF-4EDB-8170-8894B6000860}" destId="{1FF93A53-2EF8-4998-A7E5-1BBA5BFD020E}" srcOrd="0" destOrd="0" presId="urn:microsoft.com/office/officeart/2005/8/layout/radial2"/>
    <dgm:cxn modelId="{13778069-20F7-410C-A9D0-DE68DA68278A}" type="presParOf" srcId="{84D86491-A3DF-4EDB-8170-8894B6000860}" destId="{7C26C9C9-232C-432A-8641-5320F0D4FF9B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BB91DAE-FF37-43B7-B464-499C06A594D5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604054-BEC5-46A2-89DF-6584F21C5E29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Organization</a:t>
          </a:r>
          <a:endParaRPr lang="en-US" b="1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C8E9508D-2D6C-4F53-9926-056820C50BC4}" type="parTrans" cxnId="{75C04517-687A-46D1-9761-B778360F898D}">
      <dgm:prSet/>
      <dgm:spPr/>
      <dgm:t>
        <a:bodyPr/>
        <a:lstStyle/>
        <a:p>
          <a:endParaRPr lang="en-US"/>
        </a:p>
      </dgm:t>
    </dgm:pt>
    <dgm:pt modelId="{D15A1428-6C4D-4CE3-9A07-1745EFF2E100}" type="sibTrans" cxnId="{75C04517-687A-46D1-9761-B778360F898D}">
      <dgm:prSet/>
      <dgm:spPr/>
      <dgm:t>
        <a:bodyPr/>
        <a:lstStyle/>
        <a:p>
          <a:endParaRPr lang="en-US"/>
        </a:p>
      </dgm:t>
    </dgm:pt>
    <dgm:pt modelId="{85DBCFB3-FE7B-4D1B-B34B-6B11524D5926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Bef>
              <a:spcPts val="200"/>
            </a:spcBef>
            <a:spcAft>
              <a:spcPts val="8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Provides transparency</a:t>
          </a:r>
          <a:endParaRPr lang="en-US" sz="2400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D9E6B4B-5DD4-407A-9CA4-BCFC109688B9}" type="parTrans" cxnId="{3DC4CB93-B3A7-4A97-A208-2BCFAB44901B}">
      <dgm:prSet/>
      <dgm:spPr/>
      <dgm:t>
        <a:bodyPr/>
        <a:lstStyle/>
        <a:p>
          <a:endParaRPr lang="en-US"/>
        </a:p>
      </dgm:t>
    </dgm:pt>
    <dgm:pt modelId="{E3058324-0226-472E-BCB0-63E5E05440C7}" type="sibTrans" cxnId="{3DC4CB93-B3A7-4A97-A208-2BCFAB44901B}">
      <dgm:prSet/>
      <dgm:spPr/>
      <dgm:t>
        <a:bodyPr/>
        <a:lstStyle/>
        <a:p>
          <a:endParaRPr lang="en-US"/>
        </a:p>
      </dgm:t>
    </dgm:pt>
    <dgm:pt modelId="{E5EC3531-555E-4584-AE6F-6423F5FFC88B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ts val="8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Provides predictable delivery</a:t>
          </a:r>
          <a:endParaRPr lang="en-US" sz="2400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28BA896-695C-405D-A9B5-6DF3D093FFE0}" type="parTrans" cxnId="{0BB8FEDD-FBCB-4713-84EE-08A1DAE64F75}">
      <dgm:prSet/>
      <dgm:spPr/>
      <dgm:t>
        <a:bodyPr/>
        <a:lstStyle/>
        <a:p>
          <a:endParaRPr lang="en-US"/>
        </a:p>
      </dgm:t>
    </dgm:pt>
    <dgm:pt modelId="{F366F98A-6560-420C-BCC9-79EEA7375C4E}" type="sibTrans" cxnId="{0BB8FEDD-FBCB-4713-84EE-08A1DAE64F75}">
      <dgm:prSet/>
      <dgm:spPr/>
      <dgm:t>
        <a:bodyPr/>
        <a:lstStyle/>
        <a:p>
          <a:endParaRPr lang="en-US"/>
        </a:p>
      </dgm:t>
    </dgm:pt>
    <dgm:pt modelId="{9A4C6B92-84F7-41D9-8F87-9F5EFBF3E819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ct val="15000"/>
            </a:spcAft>
          </a:pPr>
          <a:endParaRPr lang="en-US" sz="1600" dirty="0">
            <a:latin typeface="Arial" pitchFamily="34" charset="0"/>
            <a:cs typeface="Arial" pitchFamily="34" charset="0"/>
          </a:endParaRPr>
        </a:p>
      </dgm:t>
    </dgm:pt>
    <dgm:pt modelId="{E759734F-864D-4A2A-8AC7-1CEB720ED78C}" type="parTrans" cxnId="{4E3F4B7F-84FA-4E23-96A1-9BBC4DC35776}">
      <dgm:prSet/>
      <dgm:spPr/>
      <dgm:t>
        <a:bodyPr/>
        <a:lstStyle/>
        <a:p>
          <a:endParaRPr lang="en-US"/>
        </a:p>
      </dgm:t>
    </dgm:pt>
    <dgm:pt modelId="{BE230CED-A1E4-4E78-876E-A09BA7B33F8A}" type="sibTrans" cxnId="{4E3F4B7F-84FA-4E23-96A1-9BBC4DC35776}">
      <dgm:prSet/>
      <dgm:spPr/>
      <dgm:t>
        <a:bodyPr/>
        <a:lstStyle/>
        <a:p>
          <a:endParaRPr lang="en-US"/>
        </a:p>
      </dgm:t>
    </dgm:pt>
    <dgm:pt modelId="{1F59F36E-0C75-4A2A-91F2-30A3705700BD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scene3d>
          <a:camera prst="orthographicFront"/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en-US" b="1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Customer</a:t>
          </a:r>
          <a:endParaRPr lang="en-US" b="1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A763F66-FE0F-4170-A9CE-25C79B460CE6}" type="sibTrans" cxnId="{7DFA8809-01E8-429B-98B2-F4CCCEBCDF55}">
      <dgm:prSet/>
      <dgm:spPr/>
      <dgm:t>
        <a:bodyPr/>
        <a:lstStyle/>
        <a:p>
          <a:endParaRPr lang="en-US"/>
        </a:p>
      </dgm:t>
    </dgm:pt>
    <dgm:pt modelId="{5523024A-4F7C-47C7-889B-D2D4B2B1BBB5}" type="parTrans" cxnId="{7DFA8809-01E8-429B-98B2-F4CCCEBCDF55}">
      <dgm:prSet/>
      <dgm:spPr/>
      <dgm:t>
        <a:bodyPr/>
        <a:lstStyle/>
        <a:p>
          <a:endParaRPr lang="en-US"/>
        </a:p>
      </dgm:t>
    </dgm:pt>
    <dgm:pt modelId="{955A1A9B-55A2-4716-BB4F-E3F587E0A425}">
      <dgm:prSet custT="1"/>
      <dgm:spPr/>
      <dgm:t>
        <a:bodyPr/>
        <a:lstStyle/>
        <a:p>
          <a:pPr>
            <a:spcAft>
              <a:spcPts val="8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Quicker access to features </a:t>
          </a:r>
          <a:endParaRPr lang="en-US" sz="2400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0BEB0DC4-905A-486B-A429-4983265E9F13}" type="parTrans" cxnId="{CCCEA969-6A2E-4294-86D3-ECCC5EA288FB}">
      <dgm:prSet/>
      <dgm:spPr/>
      <dgm:t>
        <a:bodyPr/>
        <a:lstStyle/>
        <a:p>
          <a:endParaRPr lang="en-US"/>
        </a:p>
      </dgm:t>
    </dgm:pt>
    <dgm:pt modelId="{F6215E58-CA40-4235-93A1-100D58993A48}" type="sibTrans" cxnId="{CCCEA969-6A2E-4294-86D3-ECCC5EA288FB}">
      <dgm:prSet/>
      <dgm:spPr/>
      <dgm:t>
        <a:bodyPr/>
        <a:lstStyle/>
        <a:p>
          <a:endParaRPr lang="en-US"/>
        </a:p>
      </dgm:t>
    </dgm:pt>
    <dgm:pt modelId="{E1F10016-634C-446E-A259-7A8DFD14B929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ts val="800"/>
            </a:spcAft>
          </a:pPr>
          <a:endParaRPr lang="en-US" sz="1600" dirty="0"/>
        </a:p>
      </dgm:t>
    </dgm:pt>
    <dgm:pt modelId="{4A1DBF85-13CA-4FC6-98DC-406129D58716}" type="parTrans" cxnId="{170BFF80-A942-47E1-82C5-26F0B25ABF99}">
      <dgm:prSet/>
      <dgm:spPr/>
      <dgm:t>
        <a:bodyPr/>
        <a:lstStyle/>
        <a:p>
          <a:endParaRPr lang="en-US"/>
        </a:p>
      </dgm:t>
    </dgm:pt>
    <dgm:pt modelId="{8A9C9195-1621-4FE0-92C0-5EA0F80C06C2}" type="sibTrans" cxnId="{170BFF80-A942-47E1-82C5-26F0B25ABF99}">
      <dgm:prSet/>
      <dgm:spPr/>
      <dgm:t>
        <a:bodyPr/>
        <a:lstStyle/>
        <a:p>
          <a:endParaRPr lang="en-US"/>
        </a:p>
      </dgm:t>
    </dgm:pt>
    <dgm:pt modelId="{6C9D5915-F3B6-482A-995D-B302F9DC4D90}">
      <dgm:prSet phldrT="[Text]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Team</a:t>
          </a:r>
          <a:endParaRPr lang="en-US" b="1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7FB359BA-15A2-4653-8C8A-24E3379D8B0F}" type="sibTrans" cxnId="{8C7D0BD3-249B-4A7E-BAC1-4B934CD65BD4}">
      <dgm:prSet/>
      <dgm:spPr/>
      <dgm:t>
        <a:bodyPr/>
        <a:lstStyle/>
        <a:p>
          <a:endParaRPr lang="en-US"/>
        </a:p>
      </dgm:t>
    </dgm:pt>
    <dgm:pt modelId="{0E4F7075-A649-4FA3-B400-70F250D03C1C}" type="parTrans" cxnId="{8C7D0BD3-249B-4A7E-BAC1-4B934CD65BD4}">
      <dgm:prSet/>
      <dgm:spPr/>
      <dgm:t>
        <a:bodyPr/>
        <a:lstStyle/>
        <a:p>
          <a:endParaRPr lang="en-US"/>
        </a:p>
      </dgm:t>
    </dgm:pt>
    <dgm:pt modelId="{408F8A89-07C6-49FC-AA0D-DFE6D6C0D4CF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ts val="10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Builds upon XP practices</a:t>
          </a:r>
          <a:endParaRPr lang="en-US" sz="2400" dirty="0">
            <a:solidFill>
              <a:schemeClr val="accent6">
                <a:lumMod val="75000"/>
              </a:schemeClr>
            </a:solidFill>
          </a:endParaRPr>
        </a:p>
      </dgm:t>
    </dgm:pt>
    <dgm:pt modelId="{427A913D-A049-4EED-9FC2-F8C01D96F0EE}" type="sibTrans" cxnId="{29B71E86-5CEF-4875-9915-54B7045B6E32}">
      <dgm:prSet/>
      <dgm:spPr/>
      <dgm:t>
        <a:bodyPr/>
        <a:lstStyle/>
        <a:p>
          <a:endParaRPr lang="en-US"/>
        </a:p>
      </dgm:t>
    </dgm:pt>
    <dgm:pt modelId="{18DC4C9E-5701-4A72-9F6B-D23D1D654390}" type="parTrans" cxnId="{29B71E86-5CEF-4875-9915-54B7045B6E32}">
      <dgm:prSet/>
      <dgm:spPr/>
      <dgm:t>
        <a:bodyPr/>
        <a:lstStyle/>
        <a:p>
          <a:endParaRPr lang="en-US"/>
        </a:p>
      </dgm:t>
    </dgm:pt>
    <dgm:pt modelId="{5A8206BA-2BA9-44A3-A393-FAE51894D248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ts val="10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Fosters a sustainable pace</a:t>
          </a:r>
          <a:endParaRPr lang="en-US" sz="2400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6912D4B-3FE4-4F40-BAE4-4532344B0F7A}" type="parTrans" cxnId="{8033983D-222D-402B-9129-49A968FC7889}">
      <dgm:prSet/>
      <dgm:spPr/>
      <dgm:t>
        <a:bodyPr/>
        <a:lstStyle/>
        <a:p>
          <a:endParaRPr lang="en-US"/>
        </a:p>
      </dgm:t>
    </dgm:pt>
    <dgm:pt modelId="{2B942E7B-E90D-4551-A673-A0F0D9B4544B}" type="sibTrans" cxnId="{8033983D-222D-402B-9129-49A968FC7889}">
      <dgm:prSet/>
      <dgm:spPr/>
      <dgm:t>
        <a:bodyPr/>
        <a:lstStyle/>
        <a:p>
          <a:endParaRPr lang="en-US"/>
        </a:p>
      </dgm:t>
    </dgm:pt>
    <dgm:pt modelId="{E7346CA3-B63A-4913-96E8-2F644B7A0A6F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Bef>
              <a:spcPts val="200"/>
            </a:spcBef>
            <a:spcAft>
              <a:spcPts val="800"/>
            </a:spcAft>
          </a:pPr>
          <a:r>
            <a:rPr lang="en-US" sz="2400" dirty="0" smtClean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rPr>
            <a:t>Increases teamwork</a:t>
          </a:r>
          <a:endParaRPr lang="en-US" sz="2400" dirty="0">
            <a:solidFill>
              <a:schemeClr val="accent6">
                <a:lumMod val="7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58D32B1-545F-4EDA-B456-5E405C33216C}" type="parTrans" cxnId="{66AB5B8F-DFCD-44BA-AC26-A84FD04EF73A}">
      <dgm:prSet/>
      <dgm:spPr/>
      <dgm:t>
        <a:bodyPr/>
        <a:lstStyle/>
        <a:p>
          <a:endParaRPr lang="en-US"/>
        </a:p>
      </dgm:t>
    </dgm:pt>
    <dgm:pt modelId="{C8AAA62B-C5DE-4855-B341-598E01D5ABE3}" type="sibTrans" cxnId="{66AB5B8F-DFCD-44BA-AC26-A84FD04EF73A}">
      <dgm:prSet/>
      <dgm:spPr/>
      <dgm:t>
        <a:bodyPr/>
        <a:lstStyle/>
        <a:p>
          <a:endParaRPr lang="en-US"/>
        </a:p>
      </dgm:t>
    </dgm:pt>
    <dgm:pt modelId="{99381B9C-D391-491B-A70B-B29813A5D4BA}" type="pres">
      <dgm:prSet presAssocID="{0BB91DAE-FF37-43B7-B464-499C06A594D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2731386-DEB5-4ECB-AE5E-DF40269974F2}" type="pres">
      <dgm:prSet presAssocID="{6C9D5915-F3B6-482A-995D-B302F9DC4D90}" presName="linNode" presStyleCnt="0"/>
      <dgm:spPr/>
    </dgm:pt>
    <dgm:pt modelId="{D2F5AB47-6A02-49FA-ABC5-C3232C35378D}" type="pres">
      <dgm:prSet presAssocID="{6C9D5915-F3B6-482A-995D-B302F9DC4D90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CAC056-2033-40C3-ACAA-A014EB00CF60}" type="pres">
      <dgm:prSet presAssocID="{6C9D5915-F3B6-482A-995D-B302F9DC4D90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FB4864-BFDB-49CB-A542-AB6217BFBC00}" type="pres">
      <dgm:prSet presAssocID="{7FB359BA-15A2-4653-8C8A-24E3379D8B0F}" presName="sp" presStyleCnt="0"/>
      <dgm:spPr/>
    </dgm:pt>
    <dgm:pt modelId="{9B4AD855-4B44-432D-9E37-292139A7490B}" type="pres">
      <dgm:prSet presAssocID="{3E604054-BEC5-46A2-89DF-6584F21C5E29}" presName="linNode" presStyleCnt="0"/>
      <dgm:spPr/>
    </dgm:pt>
    <dgm:pt modelId="{A35C2514-5602-4E2A-8EC6-B31E8B1C8EED}" type="pres">
      <dgm:prSet presAssocID="{3E604054-BEC5-46A2-89DF-6584F21C5E29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EE366E-D41F-416A-9764-11016D72CBAF}" type="pres">
      <dgm:prSet presAssocID="{3E604054-BEC5-46A2-89DF-6584F21C5E29}" presName="descendantText" presStyleLbl="alignAccFollowNode1" presStyleIdx="1" presStyleCnt="3" custScaleY="1030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AB0C60-F90C-4C5F-8BF7-89A9C6DBE533}" type="pres">
      <dgm:prSet presAssocID="{D15A1428-6C4D-4CE3-9A07-1745EFF2E100}" presName="sp" presStyleCnt="0"/>
      <dgm:spPr/>
    </dgm:pt>
    <dgm:pt modelId="{040C8786-EA86-4050-9679-B6AD2A355DCD}" type="pres">
      <dgm:prSet presAssocID="{1F59F36E-0C75-4A2A-91F2-30A3705700BD}" presName="linNode" presStyleCnt="0"/>
      <dgm:spPr/>
    </dgm:pt>
    <dgm:pt modelId="{233549C1-4877-44E4-997B-CCE71FE323F7}" type="pres">
      <dgm:prSet presAssocID="{1F59F36E-0C75-4A2A-91F2-30A3705700BD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920A3A-8C25-4931-A3AF-05C40D7FD8A7}" type="pres">
      <dgm:prSet presAssocID="{1F59F36E-0C75-4A2A-91F2-30A3705700BD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6AB5B8F-DFCD-44BA-AC26-A84FD04EF73A}" srcId="{3E604054-BEC5-46A2-89DF-6584F21C5E29}" destId="{E7346CA3-B63A-4913-96E8-2F644B7A0A6F}" srcOrd="1" destOrd="0" parTransId="{258D32B1-545F-4EDA-B456-5E405C33216C}" sibTransId="{C8AAA62B-C5DE-4855-B341-598E01D5ABE3}"/>
    <dgm:cxn modelId="{ADA59526-7D56-4180-B6BB-DB287D853075}" type="presOf" srcId="{408F8A89-07C6-49FC-AA0D-DFE6D6C0D4CF}" destId="{BFCAC056-2033-40C3-ACAA-A014EB00CF60}" srcOrd="0" destOrd="1" presId="urn:microsoft.com/office/officeart/2005/8/layout/vList5"/>
    <dgm:cxn modelId="{29B71E86-5CEF-4875-9915-54B7045B6E32}" srcId="{6C9D5915-F3B6-482A-995D-B302F9DC4D90}" destId="{408F8A89-07C6-49FC-AA0D-DFE6D6C0D4CF}" srcOrd="1" destOrd="0" parTransId="{18DC4C9E-5701-4A72-9F6B-D23D1D654390}" sibTransId="{427A913D-A049-4EED-9FC2-F8C01D96F0EE}"/>
    <dgm:cxn modelId="{700B7569-8DA5-43B2-9E5C-C063A174F05A}" type="presOf" srcId="{E1F10016-634C-446E-A259-7A8DFD14B929}" destId="{BFCAC056-2033-40C3-ACAA-A014EB00CF60}" srcOrd="0" destOrd="0" presId="urn:microsoft.com/office/officeart/2005/8/layout/vList5"/>
    <dgm:cxn modelId="{289623E6-8AFB-40FC-8D98-678E9C5FBC29}" type="presOf" srcId="{9A4C6B92-84F7-41D9-8F87-9F5EFBF3E819}" destId="{BFCAC056-2033-40C3-ACAA-A014EB00CF60}" srcOrd="0" destOrd="3" presId="urn:microsoft.com/office/officeart/2005/8/layout/vList5"/>
    <dgm:cxn modelId="{8033983D-222D-402B-9129-49A968FC7889}" srcId="{6C9D5915-F3B6-482A-995D-B302F9DC4D90}" destId="{5A8206BA-2BA9-44A3-A393-FAE51894D248}" srcOrd="2" destOrd="0" parTransId="{26912D4B-3FE4-4F40-BAE4-4532344B0F7A}" sibTransId="{2B942E7B-E90D-4551-A673-A0F0D9B4544B}"/>
    <dgm:cxn modelId="{21BF26EB-9D24-480B-B754-45DB10E6E0DB}" type="presOf" srcId="{E7346CA3-B63A-4913-96E8-2F644B7A0A6F}" destId="{97EE366E-D41F-416A-9764-11016D72CBAF}" srcOrd="0" destOrd="1" presId="urn:microsoft.com/office/officeart/2005/8/layout/vList5"/>
    <dgm:cxn modelId="{33BBCA4F-5B29-44E6-BC83-EEB889D787F6}" type="presOf" srcId="{0BB91DAE-FF37-43B7-B464-499C06A594D5}" destId="{99381B9C-D391-491B-A70B-B29813A5D4BA}" srcOrd="0" destOrd="0" presId="urn:microsoft.com/office/officeart/2005/8/layout/vList5"/>
    <dgm:cxn modelId="{0BB8FEDD-FBCB-4713-84EE-08A1DAE64F75}" srcId="{1F59F36E-0C75-4A2A-91F2-30A3705700BD}" destId="{E5EC3531-555E-4584-AE6F-6423F5FFC88B}" srcOrd="0" destOrd="0" parTransId="{D28BA896-695C-405D-A9B5-6DF3D093FFE0}" sibTransId="{F366F98A-6560-420C-BCC9-79EEA7375C4E}"/>
    <dgm:cxn modelId="{75C04517-687A-46D1-9761-B778360F898D}" srcId="{0BB91DAE-FF37-43B7-B464-499C06A594D5}" destId="{3E604054-BEC5-46A2-89DF-6584F21C5E29}" srcOrd="1" destOrd="0" parTransId="{C8E9508D-2D6C-4F53-9926-056820C50BC4}" sibTransId="{D15A1428-6C4D-4CE3-9A07-1745EFF2E100}"/>
    <dgm:cxn modelId="{D1A868C3-4B4B-439D-84D7-D430BCBD9D04}" type="presOf" srcId="{955A1A9B-55A2-4716-BB4F-E3F587E0A425}" destId="{8F920A3A-8C25-4931-A3AF-05C40D7FD8A7}" srcOrd="0" destOrd="1" presId="urn:microsoft.com/office/officeart/2005/8/layout/vList5"/>
    <dgm:cxn modelId="{714713FA-8D2F-43A2-A2C3-820500C9AB54}" type="presOf" srcId="{85DBCFB3-FE7B-4D1B-B34B-6B11524D5926}" destId="{97EE366E-D41F-416A-9764-11016D72CBAF}" srcOrd="0" destOrd="0" presId="urn:microsoft.com/office/officeart/2005/8/layout/vList5"/>
    <dgm:cxn modelId="{A531F158-F113-4068-82C3-8DBF288AC73C}" type="presOf" srcId="{3E604054-BEC5-46A2-89DF-6584F21C5E29}" destId="{A35C2514-5602-4E2A-8EC6-B31E8B1C8EED}" srcOrd="0" destOrd="0" presId="urn:microsoft.com/office/officeart/2005/8/layout/vList5"/>
    <dgm:cxn modelId="{CCCEA969-6A2E-4294-86D3-ECCC5EA288FB}" srcId="{1F59F36E-0C75-4A2A-91F2-30A3705700BD}" destId="{955A1A9B-55A2-4716-BB4F-E3F587E0A425}" srcOrd="1" destOrd="0" parTransId="{0BEB0DC4-905A-486B-A429-4983265E9F13}" sibTransId="{F6215E58-CA40-4235-93A1-100D58993A48}"/>
    <dgm:cxn modelId="{4E3F4B7F-84FA-4E23-96A1-9BBC4DC35776}" srcId="{6C9D5915-F3B6-482A-995D-B302F9DC4D90}" destId="{9A4C6B92-84F7-41D9-8F87-9F5EFBF3E819}" srcOrd="3" destOrd="0" parTransId="{E759734F-864D-4A2A-8AC7-1CEB720ED78C}" sibTransId="{BE230CED-A1E4-4E78-876E-A09BA7B33F8A}"/>
    <dgm:cxn modelId="{5D447081-0268-472B-8573-100D09B846B9}" type="presOf" srcId="{6C9D5915-F3B6-482A-995D-B302F9DC4D90}" destId="{D2F5AB47-6A02-49FA-ABC5-C3232C35378D}" srcOrd="0" destOrd="0" presId="urn:microsoft.com/office/officeart/2005/8/layout/vList5"/>
    <dgm:cxn modelId="{170BFF80-A942-47E1-82C5-26F0B25ABF99}" srcId="{6C9D5915-F3B6-482A-995D-B302F9DC4D90}" destId="{E1F10016-634C-446E-A259-7A8DFD14B929}" srcOrd="0" destOrd="0" parTransId="{4A1DBF85-13CA-4FC6-98DC-406129D58716}" sibTransId="{8A9C9195-1621-4FE0-92C0-5EA0F80C06C2}"/>
    <dgm:cxn modelId="{3DC4CB93-B3A7-4A97-A208-2BCFAB44901B}" srcId="{3E604054-BEC5-46A2-89DF-6584F21C5E29}" destId="{85DBCFB3-FE7B-4D1B-B34B-6B11524D5926}" srcOrd="0" destOrd="0" parTransId="{2D9E6B4B-5DD4-407A-9CA4-BCFC109688B9}" sibTransId="{E3058324-0226-472E-BCB0-63E5E05440C7}"/>
    <dgm:cxn modelId="{AD519BCC-A52B-4577-906C-EBC0E1CFBDF7}" type="presOf" srcId="{E5EC3531-555E-4584-AE6F-6423F5FFC88B}" destId="{8F920A3A-8C25-4931-A3AF-05C40D7FD8A7}" srcOrd="0" destOrd="0" presId="urn:microsoft.com/office/officeart/2005/8/layout/vList5"/>
    <dgm:cxn modelId="{7DFA8809-01E8-429B-98B2-F4CCCEBCDF55}" srcId="{0BB91DAE-FF37-43B7-B464-499C06A594D5}" destId="{1F59F36E-0C75-4A2A-91F2-30A3705700BD}" srcOrd="2" destOrd="0" parTransId="{5523024A-4F7C-47C7-889B-D2D4B2B1BBB5}" sibTransId="{DA763F66-FE0F-4170-A9CE-25C79B460CE6}"/>
    <dgm:cxn modelId="{CC77B68C-EE2E-4491-9418-B659262FCC4F}" type="presOf" srcId="{1F59F36E-0C75-4A2A-91F2-30A3705700BD}" destId="{233549C1-4877-44E4-997B-CCE71FE323F7}" srcOrd="0" destOrd="0" presId="urn:microsoft.com/office/officeart/2005/8/layout/vList5"/>
    <dgm:cxn modelId="{8C7D0BD3-249B-4A7E-BAC1-4B934CD65BD4}" srcId="{0BB91DAE-FF37-43B7-B464-499C06A594D5}" destId="{6C9D5915-F3B6-482A-995D-B302F9DC4D90}" srcOrd="0" destOrd="0" parTransId="{0E4F7075-A649-4FA3-B400-70F250D03C1C}" sibTransId="{7FB359BA-15A2-4653-8C8A-24E3379D8B0F}"/>
    <dgm:cxn modelId="{2658B83D-9E55-4196-B0BE-B10A160D7C2B}" type="presOf" srcId="{5A8206BA-2BA9-44A3-A393-FAE51894D248}" destId="{BFCAC056-2033-40C3-ACAA-A014EB00CF60}" srcOrd="0" destOrd="2" presId="urn:microsoft.com/office/officeart/2005/8/layout/vList5"/>
    <dgm:cxn modelId="{AD889ECD-60DC-4BDF-98F9-6EE49EE856DF}" type="presParOf" srcId="{99381B9C-D391-491B-A70B-B29813A5D4BA}" destId="{12731386-DEB5-4ECB-AE5E-DF40269974F2}" srcOrd="0" destOrd="0" presId="urn:microsoft.com/office/officeart/2005/8/layout/vList5"/>
    <dgm:cxn modelId="{53C2A468-9F06-4EDC-9BA8-89445816E59B}" type="presParOf" srcId="{12731386-DEB5-4ECB-AE5E-DF40269974F2}" destId="{D2F5AB47-6A02-49FA-ABC5-C3232C35378D}" srcOrd="0" destOrd="0" presId="urn:microsoft.com/office/officeart/2005/8/layout/vList5"/>
    <dgm:cxn modelId="{886CA593-B4CF-45FA-8800-26664A0C4525}" type="presParOf" srcId="{12731386-DEB5-4ECB-AE5E-DF40269974F2}" destId="{BFCAC056-2033-40C3-ACAA-A014EB00CF60}" srcOrd="1" destOrd="0" presId="urn:microsoft.com/office/officeart/2005/8/layout/vList5"/>
    <dgm:cxn modelId="{2E5C20A4-B5AC-4BC5-BBE8-B7E6CB7494B1}" type="presParOf" srcId="{99381B9C-D391-491B-A70B-B29813A5D4BA}" destId="{77FB4864-BFDB-49CB-A542-AB6217BFBC00}" srcOrd="1" destOrd="0" presId="urn:microsoft.com/office/officeart/2005/8/layout/vList5"/>
    <dgm:cxn modelId="{BE0DC674-5F7B-4C77-972E-C637E8BF0573}" type="presParOf" srcId="{99381B9C-D391-491B-A70B-B29813A5D4BA}" destId="{9B4AD855-4B44-432D-9E37-292139A7490B}" srcOrd="2" destOrd="0" presId="urn:microsoft.com/office/officeart/2005/8/layout/vList5"/>
    <dgm:cxn modelId="{333CC52B-FF67-4CFE-93B8-E66E25B2EE22}" type="presParOf" srcId="{9B4AD855-4B44-432D-9E37-292139A7490B}" destId="{A35C2514-5602-4E2A-8EC6-B31E8B1C8EED}" srcOrd="0" destOrd="0" presId="urn:microsoft.com/office/officeart/2005/8/layout/vList5"/>
    <dgm:cxn modelId="{C4683008-40F1-472B-8CBE-16AEC9CB29EE}" type="presParOf" srcId="{9B4AD855-4B44-432D-9E37-292139A7490B}" destId="{97EE366E-D41F-416A-9764-11016D72CBAF}" srcOrd="1" destOrd="0" presId="urn:microsoft.com/office/officeart/2005/8/layout/vList5"/>
    <dgm:cxn modelId="{8CB44670-5C10-4931-BE3C-58BC362CF818}" type="presParOf" srcId="{99381B9C-D391-491B-A70B-B29813A5D4BA}" destId="{9AAB0C60-F90C-4C5F-8BF7-89A9C6DBE533}" srcOrd="3" destOrd="0" presId="urn:microsoft.com/office/officeart/2005/8/layout/vList5"/>
    <dgm:cxn modelId="{2CBFAA5C-29DB-4259-AEEE-00AEE7E93301}" type="presParOf" srcId="{99381B9C-D391-491B-A70B-B29813A5D4BA}" destId="{040C8786-EA86-4050-9679-B6AD2A355DCD}" srcOrd="4" destOrd="0" presId="urn:microsoft.com/office/officeart/2005/8/layout/vList5"/>
    <dgm:cxn modelId="{80630FDF-7708-4990-BC86-09420CD16123}" type="presParOf" srcId="{040C8786-EA86-4050-9679-B6AD2A355DCD}" destId="{233549C1-4877-44E4-997B-CCE71FE323F7}" srcOrd="0" destOrd="0" presId="urn:microsoft.com/office/officeart/2005/8/layout/vList5"/>
    <dgm:cxn modelId="{7C396733-E0D9-4B2B-B3AC-FCDDCE7C56E1}" type="presParOf" srcId="{040C8786-EA86-4050-9679-B6AD2A355DCD}" destId="{8F920A3A-8C25-4931-A3AF-05C40D7FD8A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5CF7801-381C-41EE-AB4D-40726D734698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C0B11C9-272B-47AC-8704-C25EC3A249A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9396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EBD58F8-E201-42AD-A3A2-6440DD42E2BA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8D54070-3AB9-4243-B0E9-7AD5479766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85455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4070-3AB9-4243-B0E9-7AD54797669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DE034D-95CD-4747-85BE-2FBD73924AA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eam -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o support Business &amp; 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Pace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at is efficient, consistent and rewarding</a:t>
            </a:r>
          </a:p>
          <a:p>
            <a:r>
              <a:rPr lang="en-US" dirty="0" smtClean="0"/>
              <a:t>Org – In</a:t>
            </a:r>
            <a:r>
              <a:rPr lang="en-US" baseline="0" dirty="0" smtClean="0"/>
              <a:t> planning prioritization for delivery of high business value solutions and increases teamwork across dev, </a:t>
            </a:r>
            <a:r>
              <a:rPr lang="en-US" baseline="0" dirty="0" err="1" smtClean="0"/>
              <a:t>deliv</a:t>
            </a:r>
            <a:r>
              <a:rPr lang="en-US" baseline="0" dirty="0" smtClean="0"/>
              <a:t> and </a:t>
            </a:r>
            <a:r>
              <a:rPr lang="en-US" baseline="0" dirty="0" err="1" smtClean="0"/>
              <a:t>markting</a:t>
            </a:r>
            <a:endParaRPr lang="en-US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Customer -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nhanced estimation practices, commitments to promote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predictable and features faste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DE034D-95CD-4747-85BE-2FBD73924AA4}" type="slidenum">
              <a:rPr lang="en-US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75539-3A5F-4210-A363-E620AD050CF2}" type="slidenum">
              <a:rPr lang="en-US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4070-3AB9-4243-B0E9-7AD54797669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prstClr val="black"/>
              </a:buClr>
            </a:pPr>
            <a:fld id="{85DAE686-A2B0-4F42-951C-1A7624DB152E}" type="slidenum">
              <a:rPr lang="en-US">
                <a:solidFill>
                  <a:prstClr val="black"/>
                </a:solidFill>
              </a:rPr>
              <a:pPr>
                <a:buClr>
                  <a:prstClr val="black"/>
                </a:buClr>
              </a:pPr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24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4070-3AB9-4243-B0E9-7AD54797669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4070-3AB9-4243-B0E9-7AD54797669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prstClr val="black"/>
              </a:buClr>
            </a:pPr>
            <a:fld id="{85DAE686-A2B0-4F42-951C-1A7624DB152E}" type="slidenum">
              <a:rPr lang="en-US">
                <a:solidFill>
                  <a:prstClr val="black"/>
                </a:solidFill>
              </a:rPr>
              <a:pPr>
                <a:buClr>
                  <a:prstClr val="black"/>
                </a:buClr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24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8/7/2011</a:t>
            </a:r>
          </a:p>
        </p:txBody>
      </p:sp>
      <p:sp>
        <p:nvSpPr>
          <p:cNvPr id="9" name="Rectangle 7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‹#›</a:t>
            </a:r>
          </a:p>
        </p:txBody>
      </p:sp>
      <p:sp>
        <p:nvSpPr>
          <p:cNvPr id="4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/>
          </a:p>
        </p:txBody>
      </p:sp>
      <p:sp>
        <p:nvSpPr>
          <p:cNvPr id="68612" name="Text Box 4"/>
          <p:cNvSpPr txBox="1">
            <a:spLocks noGrp="1"/>
          </p:cNvSpPr>
          <p:nvPr/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23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prstClr val="black"/>
              </a:buClr>
            </a:pPr>
            <a:fld id="{85DAE686-A2B0-4F42-951C-1A7624DB152E}" type="slidenum">
              <a:rPr lang="en-US">
                <a:solidFill>
                  <a:prstClr val="black"/>
                </a:solidFill>
              </a:rPr>
              <a:pPr>
                <a:buClr>
                  <a:prstClr val="black"/>
                </a:buClr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24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prstClr val="black"/>
              </a:buClr>
            </a:pPr>
            <a:fld id="{85DAE686-A2B0-4F42-951C-1A7624DB152E}" type="slidenum">
              <a:rPr lang="en-US">
                <a:solidFill>
                  <a:prstClr val="black"/>
                </a:solidFill>
              </a:rPr>
              <a:pPr>
                <a:buClr>
                  <a:prstClr val="black"/>
                </a:buClr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24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8/7/2011</a:t>
            </a:r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‹#›</a:t>
            </a:r>
          </a:p>
        </p:txBody>
      </p:sp>
      <p:sp>
        <p:nvSpPr>
          <p:cNvPr id="4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60420" name="Text Box 4"/>
          <p:cNvSpPr txBox="1">
            <a:spLocks noGrp="1"/>
          </p:cNvSpPr>
          <p:nvPr/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13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8/7/2011</a:t>
            </a:r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‹#›</a:t>
            </a:r>
          </a:p>
        </p:txBody>
      </p:sp>
      <p:sp>
        <p:nvSpPr>
          <p:cNvPr id="4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65540" name="Text Box 4"/>
          <p:cNvSpPr txBox="1">
            <a:spLocks noGrp="1"/>
          </p:cNvSpPr>
          <p:nvPr/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18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75539-3A5F-4210-A363-E620AD050CF2}" type="slidenum">
              <a:rPr lang="en-US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/>
          <p:cNvSpPr/>
          <p:nvPr userDrawn="1"/>
        </p:nvSpPr>
        <p:spPr bwMode="auto">
          <a:xfrm rot="10800000">
            <a:off x="1975976" y="0"/>
            <a:ext cx="7168953" cy="5642509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381097"/>
              <a:gd name="connsiteX1" fmla="*/ 264070 w 2402586"/>
              <a:gd name="connsiteY1" fmla="*/ 5171716 h 5381097"/>
              <a:gd name="connsiteX2" fmla="*/ 714716 w 2402586"/>
              <a:gd name="connsiteY2" fmla="*/ 5149799 h 5381097"/>
              <a:gd name="connsiteX3" fmla="*/ 1551003 w 2402586"/>
              <a:gd name="connsiteY3" fmla="*/ 5283696 h 5381097"/>
              <a:gd name="connsiteX4" fmla="*/ 1681554 w 2402586"/>
              <a:gd name="connsiteY4" fmla="*/ 4565394 h 5381097"/>
              <a:gd name="connsiteX5" fmla="*/ 1960135 w 2402586"/>
              <a:gd name="connsiteY5" fmla="*/ 4204878 h 5381097"/>
              <a:gd name="connsiteX6" fmla="*/ 2197748 w 2402586"/>
              <a:gd name="connsiteY6" fmla="*/ 3598555 h 5381097"/>
              <a:gd name="connsiteX7" fmla="*/ 2337038 w 2402586"/>
              <a:gd name="connsiteY7" fmla="*/ 2844749 h 5381097"/>
              <a:gd name="connsiteX8" fmla="*/ 2394393 w 2402586"/>
              <a:gd name="connsiteY8" fmla="*/ 2058168 h 5381097"/>
              <a:gd name="connsiteX9" fmla="*/ 2386199 w 2402586"/>
              <a:gd name="connsiteY9" fmla="*/ 1361716 h 5381097"/>
              <a:gd name="connsiteX10" fmla="*/ 2337038 w 2402586"/>
              <a:gd name="connsiteY10" fmla="*/ 771781 h 5381097"/>
              <a:gd name="connsiteX11" fmla="*/ 2205941 w 2402586"/>
              <a:gd name="connsiteY11" fmla="*/ 362104 h 5381097"/>
              <a:gd name="connsiteX12" fmla="*/ 2017490 w 2402586"/>
              <a:gd name="connsiteY12" fmla="*/ 108104 h 5381097"/>
              <a:gd name="connsiteX13" fmla="*/ 1706135 w 2402586"/>
              <a:gd name="connsiteY13" fmla="*/ 9781 h 5381097"/>
              <a:gd name="connsiteX14" fmla="*/ 1264912 w 2402586"/>
              <a:gd name="connsiteY14" fmla="*/ 49417 h 5381097"/>
              <a:gd name="connsiteX15" fmla="*/ 845812 w 2402586"/>
              <a:gd name="connsiteY15" fmla="*/ 181845 h 5381097"/>
              <a:gd name="connsiteX16" fmla="*/ 501683 w 2402586"/>
              <a:gd name="connsiteY16" fmla="*/ 394878 h 5381097"/>
              <a:gd name="connsiteX17" fmla="*/ 214909 w 2402586"/>
              <a:gd name="connsiteY17" fmla="*/ 763587 h 5381097"/>
              <a:gd name="connsiteX18" fmla="*/ 16420 w 2402586"/>
              <a:gd name="connsiteY18" fmla="*/ 1443652 h 5381097"/>
              <a:gd name="connsiteX19" fmla="*/ 17752 w 2402586"/>
              <a:gd name="connsiteY19" fmla="*/ 4899793 h 5381097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09192 w 2402586"/>
              <a:gd name="connsiteY19" fmla="*/ 4991233 h 5213384"/>
              <a:gd name="connsiteX0" fmla="*/ 1332 w 2386166"/>
              <a:gd name="connsiteY0" fmla="*/ 4899793 h 5213384"/>
              <a:gd name="connsiteX1" fmla="*/ 247650 w 2386166"/>
              <a:gd name="connsiteY1" fmla="*/ 5171716 h 5213384"/>
              <a:gd name="connsiteX2" fmla="*/ 698296 w 2386166"/>
              <a:gd name="connsiteY2" fmla="*/ 5149799 h 5213384"/>
              <a:gd name="connsiteX3" fmla="*/ 1272116 w 2386166"/>
              <a:gd name="connsiteY3" fmla="*/ 4868829 h 5213384"/>
              <a:gd name="connsiteX4" fmla="*/ 1665134 w 2386166"/>
              <a:gd name="connsiteY4" fmla="*/ 4565394 h 5213384"/>
              <a:gd name="connsiteX5" fmla="*/ 1943715 w 2386166"/>
              <a:gd name="connsiteY5" fmla="*/ 4204878 h 5213384"/>
              <a:gd name="connsiteX6" fmla="*/ 2181328 w 2386166"/>
              <a:gd name="connsiteY6" fmla="*/ 3598555 h 5213384"/>
              <a:gd name="connsiteX7" fmla="*/ 2320618 w 2386166"/>
              <a:gd name="connsiteY7" fmla="*/ 2844749 h 5213384"/>
              <a:gd name="connsiteX8" fmla="*/ 2377973 w 2386166"/>
              <a:gd name="connsiteY8" fmla="*/ 2058168 h 5213384"/>
              <a:gd name="connsiteX9" fmla="*/ 2369779 w 2386166"/>
              <a:gd name="connsiteY9" fmla="*/ 1361716 h 5213384"/>
              <a:gd name="connsiteX10" fmla="*/ 2320618 w 2386166"/>
              <a:gd name="connsiteY10" fmla="*/ 771781 h 5213384"/>
              <a:gd name="connsiteX11" fmla="*/ 2189521 w 2386166"/>
              <a:gd name="connsiteY11" fmla="*/ 362104 h 5213384"/>
              <a:gd name="connsiteX12" fmla="*/ 2001070 w 2386166"/>
              <a:gd name="connsiteY12" fmla="*/ 108104 h 5213384"/>
              <a:gd name="connsiteX13" fmla="*/ 1689715 w 2386166"/>
              <a:gd name="connsiteY13" fmla="*/ 9781 h 5213384"/>
              <a:gd name="connsiteX14" fmla="*/ 1248492 w 2386166"/>
              <a:gd name="connsiteY14" fmla="*/ 49417 h 5213384"/>
              <a:gd name="connsiteX15" fmla="*/ 829392 w 2386166"/>
              <a:gd name="connsiteY15" fmla="*/ 181845 h 5213384"/>
              <a:gd name="connsiteX16" fmla="*/ 485263 w 2386166"/>
              <a:gd name="connsiteY16" fmla="*/ 394878 h 5213384"/>
              <a:gd name="connsiteX17" fmla="*/ 198489 w 2386166"/>
              <a:gd name="connsiteY17" fmla="*/ 763587 h 5213384"/>
              <a:gd name="connsiteX18" fmla="*/ 0 w 2386166"/>
              <a:gd name="connsiteY18" fmla="*/ 1443652 h 5213384"/>
              <a:gd name="connsiteX0" fmla="*/ 247650 w 2386166"/>
              <a:gd name="connsiteY0" fmla="*/ 5171716 h 5213384"/>
              <a:gd name="connsiteX1" fmla="*/ 698296 w 2386166"/>
              <a:gd name="connsiteY1" fmla="*/ 5149799 h 5213384"/>
              <a:gd name="connsiteX2" fmla="*/ 1272116 w 2386166"/>
              <a:gd name="connsiteY2" fmla="*/ 4868829 h 5213384"/>
              <a:gd name="connsiteX3" fmla="*/ 1665134 w 2386166"/>
              <a:gd name="connsiteY3" fmla="*/ 4565394 h 5213384"/>
              <a:gd name="connsiteX4" fmla="*/ 1943715 w 2386166"/>
              <a:gd name="connsiteY4" fmla="*/ 4204878 h 5213384"/>
              <a:gd name="connsiteX5" fmla="*/ 2181328 w 2386166"/>
              <a:gd name="connsiteY5" fmla="*/ 3598555 h 5213384"/>
              <a:gd name="connsiteX6" fmla="*/ 2320618 w 2386166"/>
              <a:gd name="connsiteY6" fmla="*/ 2844749 h 5213384"/>
              <a:gd name="connsiteX7" fmla="*/ 2377973 w 2386166"/>
              <a:gd name="connsiteY7" fmla="*/ 2058168 h 5213384"/>
              <a:gd name="connsiteX8" fmla="*/ 2369779 w 2386166"/>
              <a:gd name="connsiteY8" fmla="*/ 1361716 h 5213384"/>
              <a:gd name="connsiteX9" fmla="*/ 2320618 w 2386166"/>
              <a:gd name="connsiteY9" fmla="*/ 771781 h 5213384"/>
              <a:gd name="connsiteX10" fmla="*/ 2189521 w 2386166"/>
              <a:gd name="connsiteY10" fmla="*/ 362104 h 5213384"/>
              <a:gd name="connsiteX11" fmla="*/ 2001070 w 2386166"/>
              <a:gd name="connsiteY11" fmla="*/ 108104 h 5213384"/>
              <a:gd name="connsiteX12" fmla="*/ 1689715 w 2386166"/>
              <a:gd name="connsiteY12" fmla="*/ 9781 h 5213384"/>
              <a:gd name="connsiteX13" fmla="*/ 1248492 w 2386166"/>
              <a:gd name="connsiteY13" fmla="*/ 49417 h 5213384"/>
              <a:gd name="connsiteX14" fmla="*/ 829392 w 2386166"/>
              <a:gd name="connsiteY14" fmla="*/ 181845 h 5213384"/>
              <a:gd name="connsiteX15" fmla="*/ 485263 w 2386166"/>
              <a:gd name="connsiteY15" fmla="*/ 394878 h 5213384"/>
              <a:gd name="connsiteX16" fmla="*/ 198489 w 2386166"/>
              <a:gd name="connsiteY16" fmla="*/ 763587 h 5213384"/>
              <a:gd name="connsiteX17" fmla="*/ 0 w 2386166"/>
              <a:gd name="connsiteY17" fmla="*/ 1443652 h 5213384"/>
              <a:gd name="connsiteX0" fmla="*/ 247650 w 2386166"/>
              <a:gd name="connsiteY0" fmla="*/ 5171716 h 5171716"/>
              <a:gd name="connsiteX1" fmla="*/ 1272116 w 2386166"/>
              <a:gd name="connsiteY1" fmla="*/ 4868829 h 5171716"/>
              <a:gd name="connsiteX2" fmla="*/ 1665134 w 2386166"/>
              <a:gd name="connsiteY2" fmla="*/ 4565394 h 5171716"/>
              <a:gd name="connsiteX3" fmla="*/ 1943715 w 2386166"/>
              <a:gd name="connsiteY3" fmla="*/ 4204878 h 5171716"/>
              <a:gd name="connsiteX4" fmla="*/ 2181328 w 2386166"/>
              <a:gd name="connsiteY4" fmla="*/ 3598555 h 5171716"/>
              <a:gd name="connsiteX5" fmla="*/ 2320618 w 2386166"/>
              <a:gd name="connsiteY5" fmla="*/ 2844749 h 5171716"/>
              <a:gd name="connsiteX6" fmla="*/ 2377973 w 2386166"/>
              <a:gd name="connsiteY6" fmla="*/ 2058168 h 5171716"/>
              <a:gd name="connsiteX7" fmla="*/ 2369779 w 2386166"/>
              <a:gd name="connsiteY7" fmla="*/ 1361716 h 5171716"/>
              <a:gd name="connsiteX8" fmla="*/ 2320618 w 2386166"/>
              <a:gd name="connsiteY8" fmla="*/ 771781 h 5171716"/>
              <a:gd name="connsiteX9" fmla="*/ 2189521 w 2386166"/>
              <a:gd name="connsiteY9" fmla="*/ 362104 h 5171716"/>
              <a:gd name="connsiteX10" fmla="*/ 2001070 w 2386166"/>
              <a:gd name="connsiteY10" fmla="*/ 108104 h 5171716"/>
              <a:gd name="connsiteX11" fmla="*/ 1689715 w 2386166"/>
              <a:gd name="connsiteY11" fmla="*/ 9781 h 5171716"/>
              <a:gd name="connsiteX12" fmla="*/ 1248492 w 2386166"/>
              <a:gd name="connsiteY12" fmla="*/ 49417 h 5171716"/>
              <a:gd name="connsiteX13" fmla="*/ 829392 w 2386166"/>
              <a:gd name="connsiteY13" fmla="*/ 181845 h 5171716"/>
              <a:gd name="connsiteX14" fmla="*/ 485263 w 2386166"/>
              <a:gd name="connsiteY14" fmla="*/ 394878 h 5171716"/>
              <a:gd name="connsiteX15" fmla="*/ 198489 w 2386166"/>
              <a:gd name="connsiteY15" fmla="*/ 763587 h 5171716"/>
              <a:gd name="connsiteX16" fmla="*/ 0 w 2386166"/>
              <a:gd name="connsiteY16" fmla="*/ 1443652 h 5171716"/>
              <a:gd name="connsiteX0" fmla="*/ 247650 w 2386166"/>
              <a:gd name="connsiteY0" fmla="*/ 5171716 h 5171716"/>
              <a:gd name="connsiteX1" fmla="*/ 1665134 w 2386166"/>
              <a:gd name="connsiteY1" fmla="*/ 4565394 h 5171716"/>
              <a:gd name="connsiteX2" fmla="*/ 1943715 w 2386166"/>
              <a:gd name="connsiteY2" fmla="*/ 4204878 h 5171716"/>
              <a:gd name="connsiteX3" fmla="*/ 2181328 w 2386166"/>
              <a:gd name="connsiteY3" fmla="*/ 3598555 h 5171716"/>
              <a:gd name="connsiteX4" fmla="*/ 2320618 w 2386166"/>
              <a:gd name="connsiteY4" fmla="*/ 2844749 h 5171716"/>
              <a:gd name="connsiteX5" fmla="*/ 2377973 w 2386166"/>
              <a:gd name="connsiteY5" fmla="*/ 2058168 h 5171716"/>
              <a:gd name="connsiteX6" fmla="*/ 2369779 w 2386166"/>
              <a:gd name="connsiteY6" fmla="*/ 1361716 h 5171716"/>
              <a:gd name="connsiteX7" fmla="*/ 2320618 w 2386166"/>
              <a:gd name="connsiteY7" fmla="*/ 771781 h 5171716"/>
              <a:gd name="connsiteX8" fmla="*/ 2189521 w 2386166"/>
              <a:gd name="connsiteY8" fmla="*/ 362104 h 5171716"/>
              <a:gd name="connsiteX9" fmla="*/ 2001070 w 2386166"/>
              <a:gd name="connsiteY9" fmla="*/ 108104 h 5171716"/>
              <a:gd name="connsiteX10" fmla="*/ 1689715 w 2386166"/>
              <a:gd name="connsiteY10" fmla="*/ 9781 h 5171716"/>
              <a:gd name="connsiteX11" fmla="*/ 1248492 w 2386166"/>
              <a:gd name="connsiteY11" fmla="*/ 49417 h 5171716"/>
              <a:gd name="connsiteX12" fmla="*/ 829392 w 2386166"/>
              <a:gd name="connsiteY12" fmla="*/ 181845 h 5171716"/>
              <a:gd name="connsiteX13" fmla="*/ 485263 w 2386166"/>
              <a:gd name="connsiteY13" fmla="*/ 394878 h 5171716"/>
              <a:gd name="connsiteX14" fmla="*/ 198489 w 2386166"/>
              <a:gd name="connsiteY14" fmla="*/ 763587 h 5171716"/>
              <a:gd name="connsiteX15" fmla="*/ 0 w 2386166"/>
              <a:gd name="connsiteY15" fmla="*/ 1443652 h 5171716"/>
              <a:gd name="connsiteX0" fmla="*/ 247650 w 2386166"/>
              <a:gd name="connsiteY0" fmla="*/ 5171716 h 5171716"/>
              <a:gd name="connsiteX1" fmla="*/ 1943715 w 2386166"/>
              <a:gd name="connsiteY1" fmla="*/ 4204878 h 5171716"/>
              <a:gd name="connsiteX2" fmla="*/ 2181328 w 2386166"/>
              <a:gd name="connsiteY2" fmla="*/ 3598555 h 5171716"/>
              <a:gd name="connsiteX3" fmla="*/ 2320618 w 2386166"/>
              <a:gd name="connsiteY3" fmla="*/ 2844749 h 5171716"/>
              <a:gd name="connsiteX4" fmla="*/ 2377973 w 2386166"/>
              <a:gd name="connsiteY4" fmla="*/ 2058168 h 5171716"/>
              <a:gd name="connsiteX5" fmla="*/ 2369779 w 2386166"/>
              <a:gd name="connsiteY5" fmla="*/ 1361716 h 5171716"/>
              <a:gd name="connsiteX6" fmla="*/ 2320618 w 2386166"/>
              <a:gd name="connsiteY6" fmla="*/ 771781 h 5171716"/>
              <a:gd name="connsiteX7" fmla="*/ 2189521 w 2386166"/>
              <a:gd name="connsiteY7" fmla="*/ 362104 h 5171716"/>
              <a:gd name="connsiteX8" fmla="*/ 2001070 w 2386166"/>
              <a:gd name="connsiteY8" fmla="*/ 108104 h 5171716"/>
              <a:gd name="connsiteX9" fmla="*/ 1689715 w 2386166"/>
              <a:gd name="connsiteY9" fmla="*/ 9781 h 5171716"/>
              <a:gd name="connsiteX10" fmla="*/ 1248492 w 2386166"/>
              <a:gd name="connsiteY10" fmla="*/ 49417 h 5171716"/>
              <a:gd name="connsiteX11" fmla="*/ 829392 w 2386166"/>
              <a:gd name="connsiteY11" fmla="*/ 181845 h 5171716"/>
              <a:gd name="connsiteX12" fmla="*/ 485263 w 2386166"/>
              <a:gd name="connsiteY12" fmla="*/ 394878 h 5171716"/>
              <a:gd name="connsiteX13" fmla="*/ 198489 w 2386166"/>
              <a:gd name="connsiteY13" fmla="*/ 763587 h 5171716"/>
              <a:gd name="connsiteX14" fmla="*/ 0 w 2386166"/>
              <a:gd name="connsiteY14" fmla="*/ 1443652 h 5171716"/>
              <a:gd name="connsiteX0" fmla="*/ 247650 w 2526823"/>
              <a:gd name="connsiteY0" fmla="*/ 5171716 h 5171716"/>
              <a:gd name="connsiteX1" fmla="*/ 2181328 w 2526823"/>
              <a:gd name="connsiteY1" fmla="*/ 3598555 h 5171716"/>
              <a:gd name="connsiteX2" fmla="*/ 2320618 w 2526823"/>
              <a:gd name="connsiteY2" fmla="*/ 2844749 h 5171716"/>
              <a:gd name="connsiteX3" fmla="*/ 2377973 w 2526823"/>
              <a:gd name="connsiteY3" fmla="*/ 2058168 h 5171716"/>
              <a:gd name="connsiteX4" fmla="*/ 2369779 w 2526823"/>
              <a:gd name="connsiteY4" fmla="*/ 1361716 h 5171716"/>
              <a:gd name="connsiteX5" fmla="*/ 2320618 w 2526823"/>
              <a:gd name="connsiteY5" fmla="*/ 771781 h 5171716"/>
              <a:gd name="connsiteX6" fmla="*/ 2189521 w 2526823"/>
              <a:gd name="connsiteY6" fmla="*/ 362104 h 5171716"/>
              <a:gd name="connsiteX7" fmla="*/ 2001070 w 2526823"/>
              <a:gd name="connsiteY7" fmla="*/ 108104 h 5171716"/>
              <a:gd name="connsiteX8" fmla="*/ 1689715 w 2526823"/>
              <a:gd name="connsiteY8" fmla="*/ 9781 h 5171716"/>
              <a:gd name="connsiteX9" fmla="*/ 1248492 w 2526823"/>
              <a:gd name="connsiteY9" fmla="*/ 49417 h 5171716"/>
              <a:gd name="connsiteX10" fmla="*/ 829392 w 2526823"/>
              <a:gd name="connsiteY10" fmla="*/ 181845 h 5171716"/>
              <a:gd name="connsiteX11" fmla="*/ 485263 w 2526823"/>
              <a:gd name="connsiteY11" fmla="*/ 394878 h 5171716"/>
              <a:gd name="connsiteX12" fmla="*/ 198489 w 2526823"/>
              <a:gd name="connsiteY12" fmla="*/ 763587 h 5171716"/>
              <a:gd name="connsiteX13" fmla="*/ 0 w 2526823"/>
              <a:gd name="connsiteY13" fmla="*/ 1443652 h 5171716"/>
              <a:gd name="connsiteX0" fmla="*/ 247650 w 2675672"/>
              <a:gd name="connsiteY0" fmla="*/ 5171716 h 5171716"/>
              <a:gd name="connsiteX1" fmla="*/ 2320618 w 2675672"/>
              <a:gd name="connsiteY1" fmla="*/ 2844749 h 5171716"/>
              <a:gd name="connsiteX2" fmla="*/ 2377973 w 2675672"/>
              <a:gd name="connsiteY2" fmla="*/ 2058168 h 5171716"/>
              <a:gd name="connsiteX3" fmla="*/ 2369779 w 2675672"/>
              <a:gd name="connsiteY3" fmla="*/ 1361716 h 5171716"/>
              <a:gd name="connsiteX4" fmla="*/ 2320618 w 2675672"/>
              <a:gd name="connsiteY4" fmla="*/ 771781 h 5171716"/>
              <a:gd name="connsiteX5" fmla="*/ 2189521 w 2675672"/>
              <a:gd name="connsiteY5" fmla="*/ 362104 h 5171716"/>
              <a:gd name="connsiteX6" fmla="*/ 2001070 w 2675672"/>
              <a:gd name="connsiteY6" fmla="*/ 108104 h 5171716"/>
              <a:gd name="connsiteX7" fmla="*/ 1689715 w 2675672"/>
              <a:gd name="connsiteY7" fmla="*/ 9781 h 5171716"/>
              <a:gd name="connsiteX8" fmla="*/ 1248492 w 2675672"/>
              <a:gd name="connsiteY8" fmla="*/ 49417 h 5171716"/>
              <a:gd name="connsiteX9" fmla="*/ 829392 w 2675672"/>
              <a:gd name="connsiteY9" fmla="*/ 181845 h 5171716"/>
              <a:gd name="connsiteX10" fmla="*/ 485263 w 2675672"/>
              <a:gd name="connsiteY10" fmla="*/ 394878 h 5171716"/>
              <a:gd name="connsiteX11" fmla="*/ 198489 w 2675672"/>
              <a:gd name="connsiteY11" fmla="*/ 763587 h 5171716"/>
              <a:gd name="connsiteX12" fmla="*/ 0 w 2675672"/>
              <a:gd name="connsiteY12" fmla="*/ 1443652 h 5171716"/>
              <a:gd name="connsiteX0" fmla="*/ 247650 w 2731661"/>
              <a:gd name="connsiteY0" fmla="*/ 5171716 h 5171716"/>
              <a:gd name="connsiteX1" fmla="*/ 2377973 w 2731661"/>
              <a:gd name="connsiteY1" fmla="*/ 2058168 h 5171716"/>
              <a:gd name="connsiteX2" fmla="*/ 2369779 w 2731661"/>
              <a:gd name="connsiteY2" fmla="*/ 1361716 h 5171716"/>
              <a:gd name="connsiteX3" fmla="*/ 2320618 w 2731661"/>
              <a:gd name="connsiteY3" fmla="*/ 771781 h 5171716"/>
              <a:gd name="connsiteX4" fmla="*/ 2189521 w 2731661"/>
              <a:gd name="connsiteY4" fmla="*/ 362104 h 5171716"/>
              <a:gd name="connsiteX5" fmla="*/ 2001070 w 2731661"/>
              <a:gd name="connsiteY5" fmla="*/ 108104 h 5171716"/>
              <a:gd name="connsiteX6" fmla="*/ 1689715 w 2731661"/>
              <a:gd name="connsiteY6" fmla="*/ 9781 h 5171716"/>
              <a:gd name="connsiteX7" fmla="*/ 1248492 w 2731661"/>
              <a:gd name="connsiteY7" fmla="*/ 49417 h 5171716"/>
              <a:gd name="connsiteX8" fmla="*/ 829392 w 2731661"/>
              <a:gd name="connsiteY8" fmla="*/ 181845 h 5171716"/>
              <a:gd name="connsiteX9" fmla="*/ 485263 w 2731661"/>
              <a:gd name="connsiteY9" fmla="*/ 394878 h 5171716"/>
              <a:gd name="connsiteX10" fmla="*/ 198489 w 2731661"/>
              <a:gd name="connsiteY10" fmla="*/ 763587 h 5171716"/>
              <a:gd name="connsiteX11" fmla="*/ 0 w 2731661"/>
              <a:gd name="connsiteY11" fmla="*/ 1443652 h 5171716"/>
              <a:gd name="connsiteX0" fmla="*/ 247650 w 2715274"/>
              <a:gd name="connsiteY0" fmla="*/ 5171716 h 5171716"/>
              <a:gd name="connsiteX1" fmla="*/ 2369779 w 2715274"/>
              <a:gd name="connsiteY1" fmla="*/ 1361716 h 5171716"/>
              <a:gd name="connsiteX2" fmla="*/ 2320618 w 2715274"/>
              <a:gd name="connsiteY2" fmla="*/ 771781 h 5171716"/>
              <a:gd name="connsiteX3" fmla="*/ 2189521 w 2715274"/>
              <a:gd name="connsiteY3" fmla="*/ 362104 h 5171716"/>
              <a:gd name="connsiteX4" fmla="*/ 2001070 w 2715274"/>
              <a:gd name="connsiteY4" fmla="*/ 108104 h 5171716"/>
              <a:gd name="connsiteX5" fmla="*/ 1689715 w 2715274"/>
              <a:gd name="connsiteY5" fmla="*/ 9781 h 5171716"/>
              <a:gd name="connsiteX6" fmla="*/ 1248492 w 2715274"/>
              <a:gd name="connsiteY6" fmla="*/ 49417 h 5171716"/>
              <a:gd name="connsiteX7" fmla="*/ 829392 w 2715274"/>
              <a:gd name="connsiteY7" fmla="*/ 181845 h 5171716"/>
              <a:gd name="connsiteX8" fmla="*/ 485263 w 2715274"/>
              <a:gd name="connsiteY8" fmla="*/ 394878 h 5171716"/>
              <a:gd name="connsiteX9" fmla="*/ 198489 w 2715274"/>
              <a:gd name="connsiteY9" fmla="*/ 763587 h 5171716"/>
              <a:gd name="connsiteX10" fmla="*/ 0 w 2715274"/>
              <a:gd name="connsiteY10" fmla="*/ 1443652 h 5171716"/>
              <a:gd name="connsiteX0" fmla="*/ 247650 w 2644263"/>
              <a:gd name="connsiteY0" fmla="*/ 5201537 h 5201537"/>
              <a:gd name="connsiteX1" fmla="*/ 2320618 w 2644263"/>
              <a:gd name="connsiteY1" fmla="*/ 801602 h 5201537"/>
              <a:gd name="connsiteX2" fmla="*/ 2189521 w 2644263"/>
              <a:gd name="connsiteY2" fmla="*/ 391925 h 5201537"/>
              <a:gd name="connsiteX3" fmla="*/ 2001070 w 2644263"/>
              <a:gd name="connsiteY3" fmla="*/ 137925 h 5201537"/>
              <a:gd name="connsiteX4" fmla="*/ 1689715 w 2644263"/>
              <a:gd name="connsiteY4" fmla="*/ 39602 h 5201537"/>
              <a:gd name="connsiteX5" fmla="*/ 1248492 w 2644263"/>
              <a:gd name="connsiteY5" fmla="*/ 79238 h 5201537"/>
              <a:gd name="connsiteX6" fmla="*/ 829392 w 2644263"/>
              <a:gd name="connsiteY6" fmla="*/ 211666 h 5201537"/>
              <a:gd name="connsiteX7" fmla="*/ 485263 w 2644263"/>
              <a:gd name="connsiteY7" fmla="*/ 424699 h 5201537"/>
              <a:gd name="connsiteX8" fmla="*/ 198489 w 2644263"/>
              <a:gd name="connsiteY8" fmla="*/ 793408 h 5201537"/>
              <a:gd name="connsiteX9" fmla="*/ 0 w 2644263"/>
              <a:gd name="connsiteY9" fmla="*/ 1473473 h 5201537"/>
              <a:gd name="connsiteX0" fmla="*/ 2398703 w 2830571"/>
              <a:gd name="connsiteY0" fmla="*/ 1460693 h 1460693"/>
              <a:gd name="connsiteX1" fmla="*/ 2320618 w 2830571"/>
              <a:gd name="connsiteY1" fmla="*/ 771781 h 1460693"/>
              <a:gd name="connsiteX2" fmla="*/ 2189521 w 2830571"/>
              <a:gd name="connsiteY2" fmla="*/ 362104 h 1460693"/>
              <a:gd name="connsiteX3" fmla="*/ 2001070 w 2830571"/>
              <a:gd name="connsiteY3" fmla="*/ 108104 h 1460693"/>
              <a:gd name="connsiteX4" fmla="*/ 1689715 w 2830571"/>
              <a:gd name="connsiteY4" fmla="*/ 9781 h 1460693"/>
              <a:gd name="connsiteX5" fmla="*/ 1248492 w 2830571"/>
              <a:gd name="connsiteY5" fmla="*/ 49417 h 1460693"/>
              <a:gd name="connsiteX6" fmla="*/ 829392 w 2830571"/>
              <a:gd name="connsiteY6" fmla="*/ 181845 h 1460693"/>
              <a:gd name="connsiteX7" fmla="*/ 485263 w 2830571"/>
              <a:gd name="connsiteY7" fmla="*/ 394878 h 1460693"/>
              <a:gd name="connsiteX8" fmla="*/ 198489 w 2830571"/>
              <a:gd name="connsiteY8" fmla="*/ 763587 h 1460693"/>
              <a:gd name="connsiteX9" fmla="*/ 0 w 2830571"/>
              <a:gd name="connsiteY9" fmla="*/ 1443652 h 1460693"/>
              <a:gd name="connsiteX0" fmla="*/ 2337767 w 2769635"/>
              <a:gd name="connsiteY0" fmla="*/ 1472880 h 1472880"/>
              <a:gd name="connsiteX1" fmla="*/ 2320618 w 2769635"/>
              <a:gd name="connsiteY1" fmla="*/ 771781 h 1472880"/>
              <a:gd name="connsiteX2" fmla="*/ 2189521 w 2769635"/>
              <a:gd name="connsiteY2" fmla="*/ 362104 h 1472880"/>
              <a:gd name="connsiteX3" fmla="*/ 2001070 w 2769635"/>
              <a:gd name="connsiteY3" fmla="*/ 108104 h 1472880"/>
              <a:gd name="connsiteX4" fmla="*/ 1689715 w 2769635"/>
              <a:gd name="connsiteY4" fmla="*/ 9781 h 1472880"/>
              <a:gd name="connsiteX5" fmla="*/ 1248492 w 2769635"/>
              <a:gd name="connsiteY5" fmla="*/ 49417 h 1472880"/>
              <a:gd name="connsiteX6" fmla="*/ 829392 w 2769635"/>
              <a:gd name="connsiteY6" fmla="*/ 181845 h 1472880"/>
              <a:gd name="connsiteX7" fmla="*/ 485263 w 2769635"/>
              <a:gd name="connsiteY7" fmla="*/ 394878 h 1472880"/>
              <a:gd name="connsiteX8" fmla="*/ 198489 w 2769635"/>
              <a:gd name="connsiteY8" fmla="*/ 763587 h 1472880"/>
              <a:gd name="connsiteX9" fmla="*/ 0 w 2769635"/>
              <a:gd name="connsiteY9" fmla="*/ 1443652 h 1472880"/>
              <a:gd name="connsiteX0" fmla="*/ 2337767 w 2393861"/>
              <a:gd name="connsiteY0" fmla="*/ 1472880 h 1472880"/>
              <a:gd name="connsiteX1" fmla="*/ 2320618 w 2393861"/>
              <a:gd name="connsiteY1" fmla="*/ 771781 h 1472880"/>
              <a:gd name="connsiteX2" fmla="*/ 2189521 w 2393861"/>
              <a:gd name="connsiteY2" fmla="*/ 362104 h 1472880"/>
              <a:gd name="connsiteX3" fmla="*/ 2001070 w 2393861"/>
              <a:gd name="connsiteY3" fmla="*/ 108104 h 1472880"/>
              <a:gd name="connsiteX4" fmla="*/ 1689715 w 2393861"/>
              <a:gd name="connsiteY4" fmla="*/ 9781 h 1472880"/>
              <a:gd name="connsiteX5" fmla="*/ 1248492 w 2393861"/>
              <a:gd name="connsiteY5" fmla="*/ 49417 h 1472880"/>
              <a:gd name="connsiteX6" fmla="*/ 829392 w 2393861"/>
              <a:gd name="connsiteY6" fmla="*/ 181845 h 1472880"/>
              <a:gd name="connsiteX7" fmla="*/ 485263 w 2393861"/>
              <a:gd name="connsiteY7" fmla="*/ 394878 h 1472880"/>
              <a:gd name="connsiteX8" fmla="*/ 198489 w 2393861"/>
              <a:gd name="connsiteY8" fmla="*/ 763587 h 1472880"/>
              <a:gd name="connsiteX9" fmla="*/ 0 w 2393861"/>
              <a:gd name="connsiteY9" fmla="*/ 1443652 h 1472880"/>
              <a:gd name="connsiteX0" fmla="*/ 2410891 w 2466985"/>
              <a:gd name="connsiteY0" fmla="*/ 1476942 h 1476942"/>
              <a:gd name="connsiteX1" fmla="*/ 2320618 w 2466985"/>
              <a:gd name="connsiteY1" fmla="*/ 771781 h 1476942"/>
              <a:gd name="connsiteX2" fmla="*/ 2189521 w 2466985"/>
              <a:gd name="connsiteY2" fmla="*/ 362104 h 1476942"/>
              <a:gd name="connsiteX3" fmla="*/ 2001070 w 2466985"/>
              <a:gd name="connsiteY3" fmla="*/ 108104 h 1476942"/>
              <a:gd name="connsiteX4" fmla="*/ 1689715 w 2466985"/>
              <a:gd name="connsiteY4" fmla="*/ 9781 h 1476942"/>
              <a:gd name="connsiteX5" fmla="*/ 1248492 w 2466985"/>
              <a:gd name="connsiteY5" fmla="*/ 49417 h 1476942"/>
              <a:gd name="connsiteX6" fmla="*/ 829392 w 2466985"/>
              <a:gd name="connsiteY6" fmla="*/ 181845 h 1476942"/>
              <a:gd name="connsiteX7" fmla="*/ 485263 w 2466985"/>
              <a:gd name="connsiteY7" fmla="*/ 394878 h 1476942"/>
              <a:gd name="connsiteX8" fmla="*/ 198489 w 2466985"/>
              <a:gd name="connsiteY8" fmla="*/ 763587 h 1476942"/>
              <a:gd name="connsiteX9" fmla="*/ 0 w 2466985"/>
              <a:gd name="connsiteY9" fmla="*/ 1443652 h 1476942"/>
              <a:gd name="connsiteX0" fmla="*/ 2410891 w 2466985"/>
              <a:gd name="connsiteY0" fmla="*/ 1476942 h 1476942"/>
              <a:gd name="connsiteX1" fmla="*/ 2338899 w 2466985"/>
              <a:gd name="connsiteY1" fmla="*/ 619440 h 1476942"/>
              <a:gd name="connsiteX2" fmla="*/ 2189521 w 2466985"/>
              <a:gd name="connsiteY2" fmla="*/ 362104 h 1476942"/>
              <a:gd name="connsiteX3" fmla="*/ 2001070 w 2466985"/>
              <a:gd name="connsiteY3" fmla="*/ 108104 h 1476942"/>
              <a:gd name="connsiteX4" fmla="*/ 1689715 w 2466985"/>
              <a:gd name="connsiteY4" fmla="*/ 9781 h 1476942"/>
              <a:gd name="connsiteX5" fmla="*/ 1248492 w 2466985"/>
              <a:gd name="connsiteY5" fmla="*/ 49417 h 1476942"/>
              <a:gd name="connsiteX6" fmla="*/ 829392 w 2466985"/>
              <a:gd name="connsiteY6" fmla="*/ 181845 h 1476942"/>
              <a:gd name="connsiteX7" fmla="*/ 485263 w 2466985"/>
              <a:gd name="connsiteY7" fmla="*/ 394878 h 1476942"/>
              <a:gd name="connsiteX8" fmla="*/ 198489 w 2466985"/>
              <a:gd name="connsiteY8" fmla="*/ 763587 h 1476942"/>
              <a:gd name="connsiteX9" fmla="*/ 0 w 2466985"/>
              <a:gd name="connsiteY9" fmla="*/ 1443652 h 1476942"/>
              <a:gd name="connsiteX0" fmla="*/ 2410891 w 2414173"/>
              <a:gd name="connsiteY0" fmla="*/ 1476942 h 1476942"/>
              <a:gd name="connsiteX1" fmla="*/ 2338899 w 2414173"/>
              <a:gd name="connsiteY1" fmla="*/ 619440 h 1476942"/>
              <a:gd name="connsiteX2" fmla="*/ 2189521 w 2414173"/>
              <a:gd name="connsiteY2" fmla="*/ 362104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38899 w 2414173"/>
              <a:gd name="connsiteY1" fmla="*/ 619440 h 1476942"/>
              <a:gd name="connsiteX2" fmla="*/ 2217958 w 2414173"/>
              <a:gd name="connsiteY2" fmla="*/ 329605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38899 w 2414173"/>
              <a:gd name="connsiteY1" fmla="*/ 619440 h 1476942"/>
              <a:gd name="connsiteX2" fmla="*/ 2217958 w 2414173"/>
              <a:gd name="connsiteY2" fmla="*/ 329605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4993 w 2414173"/>
              <a:gd name="connsiteY1" fmla="*/ 670220 h 1476942"/>
              <a:gd name="connsiteX2" fmla="*/ 2217958 w 2414173"/>
              <a:gd name="connsiteY2" fmla="*/ 329605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4993 w 2414173"/>
              <a:gd name="connsiteY1" fmla="*/ 670220 h 1476942"/>
              <a:gd name="connsiteX2" fmla="*/ 2217958 w 2414173"/>
              <a:gd name="connsiteY2" fmla="*/ 329605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2001070 w 2414173"/>
              <a:gd name="connsiteY3" fmla="*/ 108104 h 1476942"/>
              <a:gd name="connsiteX4" fmla="*/ 1689715 w 2414173"/>
              <a:gd name="connsiteY4" fmla="*/ 9781 h 1476942"/>
              <a:gd name="connsiteX5" fmla="*/ 1248492 w 2414173"/>
              <a:gd name="connsiteY5" fmla="*/ 49417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4911 h 1474911"/>
              <a:gd name="connsiteX1" fmla="*/ 2342962 w 2414173"/>
              <a:gd name="connsiteY1" fmla="*/ 666158 h 1474911"/>
              <a:gd name="connsiteX2" fmla="*/ 2217958 w 2414173"/>
              <a:gd name="connsiteY2" fmla="*/ 327574 h 1474911"/>
              <a:gd name="connsiteX3" fmla="*/ 2001070 w 2414173"/>
              <a:gd name="connsiteY3" fmla="*/ 106073 h 1474911"/>
              <a:gd name="connsiteX4" fmla="*/ 1649091 w 2414173"/>
              <a:gd name="connsiteY4" fmla="*/ 9781 h 1474911"/>
              <a:gd name="connsiteX5" fmla="*/ 1248492 w 2414173"/>
              <a:gd name="connsiteY5" fmla="*/ 47386 h 1474911"/>
              <a:gd name="connsiteX6" fmla="*/ 829392 w 2414173"/>
              <a:gd name="connsiteY6" fmla="*/ 179814 h 1474911"/>
              <a:gd name="connsiteX7" fmla="*/ 485263 w 2414173"/>
              <a:gd name="connsiteY7" fmla="*/ 392847 h 1474911"/>
              <a:gd name="connsiteX8" fmla="*/ 198489 w 2414173"/>
              <a:gd name="connsiteY8" fmla="*/ 761556 h 1474911"/>
              <a:gd name="connsiteX9" fmla="*/ 0 w 2414173"/>
              <a:gd name="connsiteY9" fmla="*/ 1441621 h 1474911"/>
              <a:gd name="connsiteX0" fmla="*/ 2410891 w 2414173"/>
              <a:gd name="connsiteY0" fmla="*/ 1474234 h 1474234"/>
              <a:gd name="connsiteX1" fmla="*/ 2342962 w 2414173"/>
              <a:gd name="connsiteY1" fmla="*/ 665481 h 1474234"/>
              <a:gd name="connsiteX2" fmla="*/ 2217958 w 2414173"/>
              <a:gd name="connsiteY2" fmla="*/ 326897 h 1474234"/>
              <a:gd name="connsiteX3" fmla="*/ 1984821 w 2414173"/>
              <a:gd name="connsiteY3" fmla="*/ 101334 h 1474234"/>
              <a:gd name="connsiteX4" fmla="*/ 1649091 w 2414173"/>
              <a:gd name="connsiteY4" fmla="*/ 9104 h 1474234"/>
              <a:gd name="connsiteX5" fmla="*/ 1248492 w 2414173"/>
              <a:gd name="connsiteY5" fmla="*/ 46709 h 1474234"/>
              <a:gd name="connsiteX6" fmla="*/ 829392 w 2414173"/>
              <a:gd name="connsiteY6" fmla="*/ 179137 h 1474234"/>
              <a:gd name="connsiteX7" fmla="*/ 485263 w 2414173"/>
              <a:gd name="connsiteY7" fmla="*/ 392170 h 1474234"/>
              <a:gd name="connsiteX8" fmla="*/ 198489 w 2414173"/>
              <a:gd name="connsiteY8" fmla="*/ 760879 h 1474234"/>
              <a:gd name="connsiteX9" fmla="*/ 0 w 2414173"/>
              <a:gd name="connsiteY9" fmla="*/ 1440944 h 1474234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829392 w 2414173"/>
              <a:gd name="connsiteY6" fmla="*/ 181845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485263 w 2414173"/>
              <a:gd name="connsiteY7" fmla="*/ 39487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519794 w 2414173"/>
              <a:gd name="connsiteY7" fmla="*/ 24456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519794 w 2414173"/>
              <a:gd name="connsiteY7" fmla="*/ 24456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519794 w 2414173"/>
              <a:gd name="connsiteY7" fmla="*/ 24456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9863 w 2414173"/>
              <a:gd name="connsiteY6" fmla="*/ 163564 h 1476942"/>
              <a:gd name="connsiteX7" fmla="*/ 519794 w 2414173"/>
              <a:gd name="connsiteY7" fmla="*/ 24456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3769 w 2414173"/>
              <a:gd name="connsiteY6" fmla="*/ 155439 h 1476942"/>
              <a:gd name="connsiteX7" fmla="*/ 519794 w 2414173"/>
              <a:gd name="connsiteY7" fmla="*/ 244568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3769 w 2414173"/>
              <a:gd name="connsiteY6" fmla="*/ 155439 h 1476942"/>
              <a:gd name="connsiteX7" fmla="*/ 519794 w 2414173"/>
              <a:gd name="connsiteY7" fmla="*/ 234412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3769 w 2414173"/>
              <a:gd name="connsiteY6" fmla="*/ 155439 h 1476942"/>
              <a:gd name="connsiteX7" fmla="*/ 519794 w 2414173"/>
              <a:gd name="connsiteY7" fmla="*/ 234412 h 1476942"/>
              <a:gd name="connsiteX8" fmla="*/ 198489 w 2414173"/>
              <a:gd name="connsiteY8" fmla="*/ 763587 h 1476942"/>
              <a:gd name="connsiteX9" fmla="*/ 0 w 2414173"/>
              <a:gd name="connsiteY9" fmla="*/ 1443652 h 1476942"/>
              <a:gd name="connsiteX0" fmla="*/ 2410891 w 2414173"/>
              <a:gd name="connsiteY0" fmla="*/ 1476942 h 1476942"/>
              <a:gd name="connsiteX1" fmla="*/ 2342962 w 2414173"/>
              <a:gd name="connsiteY1" fmla="*/ 668189 h 1476942"/>
              <a:gd name="connsiteX2" fmla="*/ 2217958 w 2414173"/>
              <a:gd name="connsiteY2" fmla="*/ 329605 h 1476942"/>
              <a:gd name="connsiteX3" fmla="*/ 1984821 w 2414173"/>
              <a:gd name="connsiteY3" fmla="*/ 104042 h 1476942"/>
              <a:gd name="connsiteX4" fmla="*/ 1649091 w 2414173"/>
              <a:gd name="connsiteY4" fmla="*/ 11812 h 1476942"/>
              <a:gd name="connsiteX5" fmla="*/ 1205837 w 2414173"/>
              <a:gd name="connsiteY5" fmla="*/ 33168 h 1476942"/>
              <a:gd name="connsiteX6" fmla="*/ 723769 w 2414173"/>
              <a:gd name="connsiteY6" fmla="*/ 155439 h 1476942"/>
              <a:gd name="connsiteX7" fmla="*/ 519794 w 2414173"/>
              <a:gd name="connsiteY7" fmla="*/ 234412 h 1476942"/>
              <a:gd name="connsiteX8" fmla="*/ 0 w 2414173"/>
              <a:gd name="connsiteY8" fmla="*/ 1443652 h 1476942"/>
              <a:gd name="connsiteX0" fmla="*/ 1891097 w 1894379"/>
              <a:gd name="connsiteY0" fmla="*/ 1476942 h 1476942"/>
              <a:gd name="connsiteX1" fmla="*/ 1823168 w 1894379"/>
              <a:gd name="connsiteY1" fmla="*/ 668189 h 1476942"/>
              <a:gd name="connsiteX2" fmla="*/ 1698164 w 1894379"/>
              <a:gd name="connsiteY2" fmla="*/ 329605 h 1476942"/>
              <a:gd name="connsiteX3" fmla="*/ 1465027 w 1894379"/>
              <a:gd name="connsiteY3" fmla="*/ 104042 h 1476942"/>
              <a:gd name="connsiteX4" fmla="*/ 1129297 w 1894379"/>
              <a:gd name="connsiteY4" fmla="*/ 11812 h 1476942"/>
              <a:gd name="connsiteX5" fmla="*/ 686043 w 1894379"/>
              <a:gd name="connsiteY5" fmla="*/ 33168 h 1476942"/>
              <a:gd name="connsiteX6" fmla="*/ 203975 w 1894379"/>
              <a:gd name="connsiteY6" fmla="*/ 155439 h 1476942"/>
              <a:gd name="connsiteX7" fmla="*/ 0 w 1894379"/>
              <a:gd name="connsiteY7" fmla="*/ 234412 h 1476942"/>
              <a:gd name="connsiteX0" fmla="*/ 1891097 w 1894379"/>
              <a:gd name="connsiteY0" fmla="*/ 1476942 h 1476942"/>
              <a:gd name="connsiteX1" fmla="*/ 1827230 w 1894379"/>
              <a:gd name="connsiteY1" fmla="*/ 698657 h 1476942"/>
              <a:gd name="connsiteX2" fmla="*/ 1698164 w 1894379"/>
              <a:gd name="connsiteY2" fmla="*/ 329605 h 1476942"/>
              <a:gd name="connsiteX3" fmla="*/ 1465027 w 1894379"/>
              <a:gd name="connsiteY3" fmla="*/ 104042 h 1476942"/>
              <a:gd name="connsiteX4" fmla="*/ 1129297 w 1894379"/>
              <a:gd name="connsiteY4" fmla="*/ 11812 h 1476942"/>
              <a:gd name="connsiteX5" fmla="*/ 686043 w 1894379"/>
              <a:gd name="connsiteY5" fmla="*/ 33168 h 1476942"/>
              <a:gd name="connsiteX6" fmla="*/ 203975 w 1894379"/>
              <a:gd name="connsiteY6" fmla="*/ 155439 h 1476942"/>
              <a:gd name="connsiteX7" fmla="*/ 0 w 1894379"/>
              <a:gd name="connsiteY7" fmla="*/ 234412 h 1476942"/>
              <a:gd name="connsiteX0" fmla="*/ 1891097 w 1894379"/>
              <a:gd name="connsiteY0" fmla="*/ 1476942 h 1476942"/>
              <a:gd name="connsiteX1" fmla="*/ 1833324 w 1894379"/>
              <a:gd name="connsiteY1" fmla="*/ 714907 h 1476942"/>
              <a:gd name="connsiteX2" fmla="*/ 1698164 w 1894379"/>
              <a:gd name="connsiteY2" fmla="*/ 329605 h 1476942"/>
              <a:gd name="connsiteX3" fmla="*/ 1465027 w 1894379"/>
              <a:gd name="connsiteY3" fmla="*/ 104042 h 1476942"/>
              <a:gd name="connsiteX4" fmla="*/ 1129297 w 1894379"/>
              <a:gd name="connsiteY4" fmla="*/ 11812 h 1476942"/>
              <a:gd name="connsiteX5" fmla="*/ 686043 w 1894379"/>
              <a:gd name="connsiteY5" fmla="*/ 33168 h 1476942"/>
              <a:gd name="connsiteX6" fmla="*/ 203975 w 1894379"/>
              <a:gd name="connsiteY6" fmla="*/ 155439 h 1476942"/>
              <a:gd name="connsiteX7" fmla="*/ 0 w 1894379"/>
              <a:gd name="connsiteY7" fmla="*/ 234412 h 1476942"/>
              <a:gd name="connsiteX0" fmla="*/ 1891097 w 1894379"/>
              <a:gd name="connsiteY0" fmla="*/ 1476942 h 1476942"/>
              <a:gd name="connsiteX1" fmla="*/ 1833324 w 1894379"/>
              <a:gd name="connsiteY1" fmla="*/ 694595 h 1476942"/>
              <a:gd name="connsiteX2" fmla="*/ 1698164 w 1894379"/>
              <a:gd name="connsiteY2" fmla="*/ 329605 h 1476942"/>
              <a:gd name="connsiteX3" fmla="*/ 1465027 w 1894379"/>
              <a:gd name="connsiteY3" fmla="*/ 104042 h 1476942"/>
              <a:gd name="connsiteX4" fmla="*/ 1129297 w 1894379"/>
              <a:gd name="connsiteY4" fmla="*/ 11812 h 1476942"/>
              <a:gd name="connsiteX5" fmla="*/ 686043 w 1894379"/>
              <a:gd name="connsiteY5" fmla="*/ 33168 h 1476942"/>
              <a:gd name="connsiteX6" fmla="*/ 203975 w 1894379"/>
              <a:gd name="connsiteY6" fmla="*/ 155439 h 1476942"/>
              <a:gd name="connsiteX7" fmla="*/ 0 w 1894379"/>
              <a:gd name="connsiteY7" fmla="*/ 234412 h 1476942"/>
              <a:gd name="connsiteX0" fmla="*/ 1891097 w 1894379"/>
              <a:gd name="connsiteY0" fmla="*/ 1476265 h 1476265"/>
              <a:gd name="connsiteX1" fmla="*/ 1833324 w 1894379"/>
              <a:gd name="connsiteY1" fmla="*/ 693918 h 1476265"/>
              <a:gd name="connsiteX2" fmla="*/ 1698164 w 1894379"/>
              <a:gd name="connsiteY2" fmla="*/ 328928 h 1476265"/>
              <a:gd name="connsiteX3" fmla="*/ 1446746 w 1894379"/>
              <a:gd name="connsiteY3" fmla="*/ 99303 h 1476265"/>
              <a:gd name="connsiteX4" fmla="*/ 1129297 w 1894379"/>
              <a:gd name="connsiteY4" fmla="*/ 11135 h 1476265"/>
              <a:gd name="connsiteX5" fmla="*/ 686043 w 1894379"/>
              <a:gd name="connsiteY5" fmla="*/ 32491 h 1476265"/>
              <a:gd name="connsiteX6" fmla="*/ 203975 w 1894379"/>
              <a:gd name="connsiteY6" fmla="*/ 154762 h 1476265"/>
              <a:gd name="connsiteX7" fmla="*/ 0 w 1894379"/>
              <a:gd name="connsiteY7" fmla="*/ 233735 h 1476265"/>
              <a:gd name="connsiteX0" fmla="*/ 1891097 w 1894379"/>
              <a:gd name="connsiteY0" fmla="*/ 1475588 h 1475588"/>
              <a:gd name="connsiteX1" fmla="*/ 1833324 w 1894379"/>
              <a:gd name="connsiteY1" fmla="*/ 693241 h 1475588"/>
              <a:gd name="connsiteX2" fmla="*/ 1698164 w 1894379"/>
              <a:gd name="connsiteY2" fmla="*/ 328251 h 1475588"/>
              <a:gd name="connsiteX3" fmla="*/ 1446746 w 1894379"/>
              <a:gd name="connsiteY3" fmla="*/ 98626 h 1475588"/>
              <a:gd name="connsiteX4" fmla="*/ 1129297 w 1894379"/>
              <a:gd name="connsiteY4" fmla="*/ 10458 h 1475588"/>
              <a:gd name="connsiteX5" fmla="*/ 684012 w 1894379"/>
              <a:gd name="connsiteY5" fmla="*/ 35876 h 1475588"/>
              <a:gd name="connsiteX6" fmla="*/ 203975 w 1894379"/>
              <a:gd name="connsiteY6" fmla="*/ 154085 h 1475588"/>
              <a:gd name="connsiteX7" fmla="*/ 0 w 1894379"/>
              <a:gd name="connsiteY7" fmla="*/ 233058 h 1475588"/>
              <a:gd name="connsiteX0" fmla="*/ 1891097 w 1894379"/>
              <a:gd name="connsiteY0" fmla="*/ 1475588 h 1475588"/>
              <a:gd name="connsiteX1" fmla="*/ 1833324 w 1894379"/>
              <a:gd name="connsiteY1" fmla="*/ 693241 h 1475588"/>
              <a:gd name="connsiteX2" fmla="*/ 1698164 w 1894379"/>
              <a:gd name="connsiteY2" fmla="*/ 328251 h 1475588"/>
              <a:gd name="connsiteX3" fmla="*/ 1446746 w 1894379"/>
              <a:gd name="connsiteY3" fmla="*/ 98626 h 1475588"/>
              <a:gd name="connsiteX4" fmla="*/ 1129297 w 1894379"/>
              <a:gd name="connsiteY4" fmla="*/ 10458 h 1475588"/>
              <a:gd name="connsiteX5" fmla="*/ 684012 w 1894379"/>
              <a:gd name="connsiteY5" fmla="*/ 35876 h 1475588"/>
              <a:gd name="connsiteX6" fmla="*/ 206006 w 1894379"/>
              <a:gd name="connsiteY6" fmla="*/ 166272 h 1475588"/>
              <a:gd name="connsiteX7" fmla="*/ 0 w 1894379"/>
              <a:gd name="connsiteY7" fmla="*/ 233058 h 1475588"/>
              <a:gd name="connsiteX0" fmla="*/ 1895159 w 1898441"/>
              <a:gd name="connsiteY0" fmla="*/ 1475588 h 1475588"/>
              <a:gd name="connsiteX1" fmla="*/ 1837386 w 1898441"/>
              <a:gd name="connsiteY1" fmla="*/ 693241 h 1475588"/>
              <a:gd name="connsiteX2" fmla="*/ 1702226 w 1898441"/>
              <a:gd name="connsiteY2" fmla="*/ 328251 h 1475588"/>
              <a:gd name="connsiteX3" fmla="*/ 1450808 w 1898441"/>
              <a:gd name="connsiteY3" fmla="*/ 98626 h 1475588"/>
              <a:gd name="connsiteX4" fmla="*/ 1133359 w 1898441"/>
              <a:gd name="connsiteY4" fmla="*/ 10458 h 1475588"/>
              <a:gd name="connsiteX5" fmla="*/ 688074 w 1898441"/>
              <a:gd name="connsiteY5" fmla="*/ 35876 h 1475588"/>
              <a:gd name="connsiteX6" fmla="*/ 210068 w 1898441"/>
              <a:gd name="connsiteY6" fmla="*/ 166272 h 1475588"/>
              <a:gd name="connsiteX7" fmla="*/ 0 w 1898441"/>
              <a:gd name="connsiteY7" fmla="*/ 243214 h 1475588"/>
              <a:gd name="connsiteX0" fmla="*/ 1891097 w 1894379"/>
              <a:gd name="connsiteY0" fmla="*/ 1467463 h 1467463"/>
              <a:gd name="connsiteX1" fmla="*/ 1837386 w 1894379"/>
              <a:gd name="connsiteY1" fmla="*/ 693241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0" fmla="*/ 1891097 w 1894379"/>
              <a:gd name="connsiteY0" fmla="*/ 1467463 h 1467463"/>
              <a:gd name="connsiteX1" fmla="*/ 1835355 w 1894379"/>
              <a:gd name="connsiteY1" fmla="*/ 717616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0" fmla="*/ 1891097 w 1894379"/>
              <a:gd name="connsiteY0" fmla="*/ 1467463 h 1467463"/>
              <a:gd name="connsiteX1" fmla="*/ 1839418 w 1894379"/>
              <a:gd name="connsiteY1" fmla="*/ 705429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0" fmla="*/ 1891097 w 1894379"/>
              <a:gd name="connsiteY0" fmla="*/ 1467463 h 1467463"/>
              <a:gd name="connsiteX1" fmla="*/ 1839418 w 1894379"/>
              <a:gd name="connsiteY1" fmla="*/ 705429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8" fmla="*/ 1891097 w 1894379"/>
              <a:gd name="connsiteY8" fmla="*/ 1467463 h 1467463"/>
              <a:gd name="connsiteX0" fmla="*/ 1891097 w 1894379"/>
              <a:gd name="connsiteY0" fmla="*/ 1467463 h 1467463"/>
              <a:gd name="connsiteX1" fmla="*/ 1839418 w 1894379"/>
              <a:gd name="connsiteY1" fmla="*/ 705429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8" fmla="*/ 1124538 w 1894379"/>
              <a:gd name="connsiteY8" fmla="*/ 974226 h 1467463"/>
              <a:gd name="connsiteX9" fmla="*/ 1891097 w 1894379"/>
              <a:gd name="connsiteY9" fmla="*/ 1467463 h 1467463"/>
              <a:gd name="connsiteX0" fmla="*/ 1891097 w 1894379"/>
              <a:gd name="connsiteY0" fmla="*/ 1467463 h 1467463"/>
              <a:gd name="connsiteX1" fmla="*/ 1839418 w 1894379"/>
              <a:gd name="connsiteY1" fmla="*/ 705429 h 1467463"/>
              <a:gd name="connsiteX2" fmla="*/ 1702226 w 1894379"/>
              <a:gd name="connsiteY2" fmla="*/ 328251 h 1467463"/>
              <a:gd name="connsiteX3" fmla="*/ 1450808 w 1894379"/>
              <a:gd name="connsiteY3" fmla="*/ 98626 h 1467463"/>
              <a:gd name="connsiteX4" fmla="*/ 1133359 w 1894379"/>
              <a:gd name="connsiteY4" fmla="*/ 10458 h 1467463"/>
              <a:gd name="connsiteX5" fmla="*/ 688074 w 1894379"/>
              <a:gd name="connsiteY5" fmla="*/ 35876 h 1467463"/>
              <a:gd name="connsiteX6" fmla="*/ 210068 w 1894379"/>
              <a:gd name="connsiteY6" fmla="*/ 166272 h 1467463"/>
              <a:gd name="connsiteX7" fmla="*/ 0 w 1894379"/>
              <a:gd name="connsiteY7" fmla="*/ 243214 h 1467463"/>
              <a:gd name="connsiteX8" fmla="*/ 1544 w 1894379"/>
              <a:gd name="connsiteY8" fmla="*/ 1467463 h 1467463"/>
              <a:gd name="connsiteX9" fmla="*/ 1891097 w 1894379"/>
              <a:gd name="connsiteY9" fmla="*/ 1467463 h 1467463"/>
              <a:gd name="connsiteX0" fmla="*/ 1890068 w 1893350"/>
              <a:gd name="connsiteY0" fmla="*/ 1467463 h 1467463"/>
              <a:gd name="connsiteX1" fmla="*/ 1838389 w 1893350"/>
              <a:gd name="connsiteY1" fmla="*/ 705429 h 1467463"/>
              <a:gd name="connsiteX2" fmla="*/ 1701197 w 1893350"/>
              <a:gd name="connsiteY2" fmla="*/ 328251 h 1467463"/>
              <a:gd name="connsiteX3" fmla="*/ 1449779 w 1893350"/>
              <a:gd name="connsiteY3" fmla="*/ 98626 h 1467463"/>
              <a:gd name="connsiteX4" fmla="*/ 1132330 w 1893350"/>
              <a:gd name="connsiteY4" fmla="*/ 10458 h 1467463"/>
              <a:gd name="connsiteX5" fmla="*/ 687045 w 1893350"/>
              <a:gd name="connsiteY5" fmla="*/ 35876 h 1467463"/>
              <a:gd name="connsiteX6" fmla="*/ 209039 w 1893350"/>
              <a:gd name="connsiteY6" fmla="*/ 166272 h 1467463"/>
              <a:gd name="connsiteX7" fmla="*/ 18789 w 1893350"/>
              <a:gd name="connsiteY7" fmla="*/ 234406 h 1467463"/>
              <a:gd name="connsiteX8" fmla="*/ 515 w 1893350"/>
              <a:gd name="connsiteY8" fmla="*/ 1467463 h 1467463"/>
              <a:gd name="connsiteX9" fmla="*/ 1890068 w 1893350"/>
              <a:gd name="connsiteY9" fmla="*/ 1467463 h 1467463"/>
              <a:gd name="connsiteX0" fmla="*/ 1871279 w 1874561"/>
              <a:gd name="connsiteY0" fmla="*/ 1467463 h 1467463"/>
              <a:gd name="connsiteX1" fmla="*/ 1819600 w 1874561"/>
              <a:gd name="connsiteY1" fmla="*/ 705429 h 1467463"/>
              <a:gd name="connsiteX2" fmla="*/ 1682408 w 1874561"/>
              <a:gd name="connsiteY2" fmla="*/ 328251 h 1467463"/>
              <a:gd name="connsiteX3" fmla="*/ 1430990 w 1874561"/>
              <a:gd name="connsiteY3" fmla="*/ 98626 h 1467463"/>
              <a:gd name="connsiteX4" fmla="*/ 1113541 w 1874561"/>
              <a:gd name="connsiteY4" fmla="*/ 10458 h 1467463"/>
              <a:gd name="connsiteX5" fmla="*/ 668256 w 1874561"/>
              <a:gd name="connsiteY5" fmla="*/ 35876 h 1467463"/>
              <a:gd name="connsiteX6" fmla="*/ 190250 w 1874561"/>
              <a:gd name="connsiteY6" fmla="*/ 166272 h 1467463"/>
              <a:gd name="connsiteX7" fmla="*/ 0 w 1874561"/>
              <a:gd name="connsiteY7" fmla="*/ 234406 h 1467463"/>
              <a:gd name="connsiteX8" fmla="*/ 1543 w 1874561"/>
              <a:gd name="connsiteY8" fmla="*/ 1467463 h 1467463"/>
              <a:gd name="connsiteX9" fmla="*/ 1871279 w 1874561"/>
              <a:gd name="connsiteY9" fmla="*/ 1467463 h 1467463"/>
              <a:gd name="connsiteX0" fmla="*/ 1870251 w 1873533"/>
              <a:gd name="connsiteY0" fmla="*/ 1467463 h 1467463"/>
              <a:gd name="connsiteX1" fmla="*/ 1818572 w 1873533"/>
              <a:gd name="connsiteY1" fmla="*/ 705429 h 1467463"/>
              <a:gd name="connsiteX2" fmla="*/ 1681380 w 1873533"/>
              <a:gd name="connsiteY2" fmla="*/ 328251 h 1467463"/>
              <a:gd name="connsiteX3" fmla="*/ 1429962 w 1873533"/>
              <a:gd name="connsiteY3" fmla="*/ 98626 h 1467463"/>
              <a:gd name="connsiteX4" fmla="*/ 1112513 w 1873533"/>
              <a:gd name="connsiteY4" fmla="*/ 10458 h 1467463"/>
              <a:gd name="connsiteX5" fmla="*/ 667228 w 1873533"/>
              <a:gd name="connsiteY5" fmla="*/ 35876 h 1467463"/>
              <a:gd name="connsiteX6" fmla="*/ 189222 w 1873533"/>
              <a:gd name="connsiteY6" fmla="*/ 166272 h 1467463"/>
              <a:gd name="connsiteX7" fmla="*/ 9707 w 1873533"/>
              <a:gd name="connsiteY7" fmla="*/ 229452 h 1467463"/>
              <a:gd name="connsiteX8" fmla="*/ 515 w 1873533"/>
              <a:gd name="connsiteY8" fmla="*/ 1467463 h 1467463"/>
              <a:gd name="connsiteX9" fmla="*/ 1870251 w 1873533"/>
              <a:gd name="connsiteY9" fmla="*/ 1467463 h 1467463"/>
              <a:gd name="connsiteX0" fmla="*/ 1876031 w 1879313"/>
              <a:gd name="connsiteY0" fmla="*/ 1467463 h 1475720"/>
              <a:gd name="connsiteX1" fmla="*/ 1824352 w 1879313"/>
              <a:gd name="connsiteY1" fmla="*/ 705429 h 1475720"/>
              <a:gd name="connsiteX2" fmla="*/ 1687160 w 1879313"/>
              <a:gd name="connsiteY2" fmla="*/ 328251 h 1475720"/>
              <a:gd name="connsiteX3" fmla="*/ 1435742 w 1879313"/>
              <a:gd name="connsiteY3" fmla="*/ 98626 h 1475720"/>
              <a:gd name="connsiteX4" fmla="*/ 1118293 w 1879313"/>
              <a:gd name="connsiteY4" fmla="*/ 10458 h 1475720"/>
              <a:gd name="connsiteX5" fmla="*/ 673008 w 1879313"/>
              <a:gd name="connsiteY5" fmla="*/ 35876 h 1475720"/>
              <a:gd name="connsiteX6" fmla="*/ 195002 w 1879313"/>
              <a:gd name="connsiteY6" fmla="*/ 166272 h 1475720"/>
              <a:gd name="connsiteX7" fmla="*/ 15487 w 1879313"/>
              <a:gd name="connsiteY7" fmla="*/ 229452 h 1475720"/>
              <a:gd name="connsiteX8" fmla="*/ 515 w 1879313"/>
              <a:gd name="connsiteY8" fmla="*/ 1475720 h 1475720"/>
              <a:gd name="connsiteX9" fmla="*/ 1876031 w 1879313"/>
              <a:gd name="connsiteY9" fmla="*/ 1467463 h 1475720"/>
              <a:gd name="connsiteX0" fmla="*/ 1860544 w 1863826"/>
              <a:gd name="connsiteY0" fmla="*/ 1467463 h 1467463"/>
              <a:gd name="connsiteX1" fmla="*/ 1808865 w 1863826"/>
              <a:gd name="connsiteY1" fmla="*/ 705429 h 1467463"/>
              <a:gd name="connsiteX2" fmla="*/ 1671673 w 1863826"/>
              <a:gd name="connsiteY2" fmla="*/ 328251 h 1467463"/>
              <a:gd name="connsiteX3" fmla="*/ 1420255 w 1863826"/>
              <a:gd name="connsiteY3" fmla="*/ 98626 h 1467463"/>
              <a:gd name="connsiteX4" fmla="*/ 1102806 w 1863826"/>
              <a:gd name="connsiteY4" fmla="*/ 10458 h 1467463"/>
              <a:gd name="connsiteX5" fmla="*/ 657521 w 1863826"/>
              <a:gd name="connsiteY5" fmla="*/ 35876 h 1467463"/>
              <a:gd name="connsiteX6" fmla="*/ 179515 w 1863826"/>
              <a:gd name="connsiteY6" fmla="*/ 166272 h 1467463"/>
              <a:gd name="connsiteX7" fmla="*/ 0 w 1863826"/>
              <a:gd name="connsiteY7" fmla="*/ 229452 h 1467463"/>
              <a:gd name="connsiteX8" fmla="*/ 60995 w 1863826"/>
              <a:gd name="connsiteY8" fmla="*/ 1415442 h 1467463"/>
              <a:gd name="connsiteX9" fmla="*/ 1860544 w 1863826"/>
              <a:gd name="connsiteY9" fmla="*/ 1467463 h 1467463"/>
              <a:gd name="connsiteX0" fmla="*/ 1861168 w 1864450"/>
              <a:gd name="connsiteY0" fmla="*/ 1467463 h 1467463"/>
              <a:gd name="connsiteX1" fmla="*/ 1809489 w 1864450"/>
              <a:gd name="connsiteY1" fmla="*/ 705429 h 1467463"/>
              <a:gd name="connsiteX2" fmla="*/ 1672297 w 1864450"/>
              <a:gd name="connsiteY2" fmla="*/ 328251 h 1467463"/>
              <a:gd name="connsiteX3" fmla="*/ 1420879 w 1864450"/>
              <a:gd name="connsiteY3" fmla="*/ 98626 h 1467463"/>
              <a:gd name="connsiteX4" fmla="*/ 1103430 w 1864450"/>
              <a:gd name="connsiteY4" fmla="*/ 10458 h 1467463"/>
              <a:gd name="connsiteX5" fmla="*/ 658145 w 1864450"/>
              <a:gd name="connsiteY5" fmla="*/ 35876 h 1467463"/>
              <a:gd name="connsiteX6" fmla="*/ 180139 w 1864450"/>
              <a:gd name="connsiteY6" fmla="*/ 166272 h 1467463"/>
              <a:gd name="connsiteX7" fmla="*/ 624 w 1864450"/>
              <a:gd name="connsiteY7" fmla="*/ 229452 h 1467463"/>
              <a:gd name="connsiteX8" fmla="*/ 515 w 1864450"/>
              <a:gd name="connsiteY8" fmla="*/ 1467463 h 1467463"/>
              <a:gd name="connsiteX9" fmla="*/ 1861168 w 1864450"/>
              <a:gd name="connsiteY9" fmla="*/ 1467463 h 1467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64450" h="1467463">
                <a:moveTo>
                  <a:pt x="1861168" y="1467463"/>
                </a:moveTo>
                <a:cubicBezTo>
                  <a:pt x="1864450" y="1115487"/>
                  <a:pt x="1841644" y="896652"/>
                  <a:pt x="1809489" y="705429"/>
                </a:cubicBezTo>
                <a:cubicBezTo>
                  <a:pt x="1769209" y="514206"/>
                  <a:pt x="1722509" y="401287"/>
                  <a:pt x="1672297" y="328251"/>
                </a:cubicBezTo>
                <a:cubicBezTo>
                  <a:pt x="1615992" y="243028"/>
                  <a:pt x="1515690" y="151592"/>
                  <a:pt x="1420879" y="98626"/>
                </a:cubicBezTo>
                <a:cubicBezTo>
                  <a:pt x="1326068" y="45661"/>
                  <a:pt x="1230552" y="20916"/>
                  <a:pt x="1103430" y="10458"/>
                </a:cubicBezTo>
                <a:cubicBezTo>
                  <a:pt x="976308" y="0"/>
                  <a:pt x="812027" y="9907"/>
                  <a:pt x="658145" y="35876"/>
                </a:cubicBezTo>
                <a:cubicBezTo>
                  <a:pt x="504263" y="61845"/>
                  <a:pt x="318516" y="126300"/>
                  <a:pt x="180139" y="166272"/>
                </a:cubicBezTo>
                <a:cubicBezTo>
                  <a:pt x="53949" y="210308"/>
                  <a:pt x="36374" y="212727"/>
                  <a:pt x="624" y="229452"/>
                </a:cubicBezTo>
                <a:cubicBezTo>
                  <a:pt x="1139" y="637535"/>
                  <a:pt x="0" y="1059380"/>
                  <a:pt x="515" y="1467463"/>
                </a:cubicBezTo>
                <a:lnTo>
                  <a:pt x="1861168" y="1467463"/>
                </a:lnTo>
                <a:close/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7800000" scaled="0"/>
            <a:tileRect/>
          </a:gra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6" name="Freeform 15"/>
          <p:cNvSpPr>
            <a:spLocks noChangeAspect="1"/>
          </p:cNvSpPr>
          <p:nvPr userDrawn="1"/>
        </p:nvSpPr>
        <p:spPr bwMode="auto">
          <a:xfrm>
            <a:off x="8388204" y="-3173"/>
            <a:ext cx="764048" cy="667425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979328"/>
              <a:gd name="connsiteY0" fmla="*/ 3210121 h 3517549"/>
              <a:gd name="connsiteX1" fmla="*/ 462949 w 2979328"/>
              <a:gd name="connsiteY1" fmla="*/ 3475881 h 3517549"/>
              <a:gd name="connsiteX2" fmla="*/ 1006076 w 2979328"/>
              <a:gd name="connsiteY2" fmla="*/ 3460128 h 3517549"/>
              <a:gd name="connsiteX3" fmla="*/ 1606563 w 2979328"/>
              <a:gd name="connsiteY3" fmla="*/ 3186401 h 3517549"/>
              <a:gd name="connsiteX4" fmla="*/ 1942086 w 2979328"/>
              <a:gd name="connsiteY4" fmla="*/ 2875723 h 3517549"/>
              <a:gd name="connsiteX5" fmla="*/ 2208337 w 2979328"/>
              <a:gd name="connsiteY5" fmla="*/ 2410477 h 3517549"/>
              <a:gd name="connsiteX6" fmla="*/ 2344599 w 2979328"/>
              <a:gd name="connsiteY6" fmla="*/ 1791741 h 3517549"/>
              <a:gd name="connsiteX7" fmla="*/ 2400363 w 2979328"/>
              <a:gd name="connsiteY7" fmla="*/ 999760 h 3517549"/>
              <a:gd name="connsiteX8" fmla="*/ 2410590 w 2979328"/>
              <a:gd name="connsiteY8" fmla="*/ 232857 h 3517549"/>
              <a:gd name="connsiteX9" fmla="*/ 2970181 w 2979328"/>
              <a:gd name="connsiteY9" fmla="*/ 3284 h 3517549"/>
              <a:gd name="connsiteX10" fmla="*/ 271813 w 2979328"/>
              <a:gd name="connsiteY10" fmla="*/ 0 h 3517549"/>
              <a:gd name="connsiteX11" fmla="*/ 51703 w 2979328"/>
              <a:gd name="connsiteY11" fmla="*/ 1398216 h 3517549"/>
              <a:gd name="connsiteX12" fmla="*/ 173473 w 2979328"/>
              <a:gd name="connsiteY12" fmla="*/ 3210121 h 3517549"/>
              <a:gd name="connsiteX0" fmla="*/ 173473 w 3097874"/>
              <a:gd name="connsiteY0" fmla="*/ 3210121 h 3517549"/>
              <a:gd name="connsiteX1" fmla="*/ 462949 w 3097874"/>
              <a:gd name="connsiteY1" fmla="*/ 3475881 h 3517549"/>
              <a:gd name="connsiteX2" fmla="*/ 1006076 w 3097874"/>
              <a:gd name="connsiteY2" fmla="*/ 3460128 h 3517549"/>
              <a:gd name="connsiteX3" fmla="*/ 1606563 w 3097874"/>
              <a:gd name="connsiteY3" fmla="*/ 3186401 h 3517549"/>
              <a:gd name="connsiteX4" fmla="*/ 1942086 w 3097874"/>
              <a:gd name="connsiteY4" fmla="*/ 2875723 h 3517549"/>
              <a:gd name="connsiteX5" fmla="*/ 2208337 w 3097874"/>
              <a:gd name="connsiteY5" fmla="*/ 2410477 h 3517549"/>
              <a:gd name="connsiteX6" fmla="*/ 2344599 w 3097874"/>
              <a:gd name="connsiteY6" fmla="*/ 1791741 h 3517549"/>
              <a:gd name="connsiteX7" fmla="*/ 2400363 w 3097874"/>
              <a:gd name="connsiteY7" fmla="*/ 999760 h 3517549"/>
              <a:gd name="connsiteX8" fmla="*/ 3002905 w 3097874"/>
              <a:gd name="connsiteY8" fmla="*/ 232856 h 3517549"/>
              <a:gd name="connsiteX9" fmla="*/ 2970181 w 3097874"/>
              <a:gd name="connsiteY9" fmla="*/ 3284 h 3517549"/>
              <a:gd name="connsiteX10" fmla="*/ 271813 w 3097874"/>
              <a:gd name="connsiteY10" fmla="*/ 0 h 3517549"/>
              <a:gd name="connsiteX11" fmla="*/ 51703 w 3097874"/>
              <a:gd name="connsiteY11" fmla="*/ 1398216 h 3517549"/>
              <a:gd name="connsiteX12" fmla="*/ 173473 w 3097874"/>
              <a:gd name="connsiteY12" fmla="*/ 3210121 h 3517549"/>
              <a:gd name="connsiteX0" fmla="*/ 173473 w 3019265"/>
              <a:gd name="connsiteY0" fmla="*/ 3210121 h 3517549"/>
              <a:gd name="connsiteX1" fmla="*/ 462949 w 3019265"/>
              <a:gd name="connsiteY1" fmla="*/ 3475881 h 3517549"/>
              <a:gd name="connsiteX2" fmla="*/ 1006076 w 3019265"/>
              <a:gd name="connsiteY2" fmla="*/ 3460128 h 3517549"/>
              <a:gd name="connsiteX3" fmla="*/ 1606563 w 3019265"/>
              <a:gd name="connsiteY3" fmla="*/ 3186401 h 3517549"/>
              <a:gd name="connsiteX4" fmla="*/ 1942086 w 3019265"/>
              <a:gd name="connsiteY4" fmla="*/ 2875723 h 3517549"/>
              <a:gd name="connsiteX5" fmla="*/ 2208337 w 3019265"/>
              <a:gd name="connsiteY5" fmla="*/ 2410477 h 3517549"/>
              <a:gd name="connsiteX6" fmla="*/ 2344599 w 3019265"/>
              <a:gd name="connsiteY6" fmla="*/ 1791741 h 3517549"/>
              <a:gd name="connsiteX7" fmla="*/ 2909548 w 3019265"/>
              <a:gd name="connsiteY7" fmla="*/ 1249156 h 3517549"/>
              <a:gd name="connsiteX8" fmla="*/ 3002905 w 3019265"/>
              <a:gd name="connsiteY8" fmla="*/ 232856 h 3517549"/>
              <a:gd name="connsiteX9" fmla="*/ 2970181 w 3019265"/>
              <a:gd name="connsiteY9" fmla="*/ 3284 h 3517549"/>
              <a:gd name="connsiteX10" fmla="*/ 271813 w 3019265"/>
              <a:gd name="connsiteY10" fmla="*/ 0 h 3517549"/>
              <a:gd name="connsiteX11" fmla="*/ 51703 w 3019265"/>
              <a:gd name="connsiteY11" fmla="*/ 1398216 h 3517549"/>
              <a:gd name="connsiteX12" fmla="*/ 173473 w 3019265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208337 w 3013010"/>
              <a:gd name="connsiteY5" fmla="*/ 2410477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689070"/>
              <a:gd name="connsiteX1" fmla="*/ 462949 w 3013010"/>
              <a:gd name="connsiteY1" fmla="*/ 3475881 h 3689070"/>
              <a:gd name="connsiteX2" fmla="*/ 1006076 w 3013010"/>
              <a:gd name="connsiteY2" fmla="*/ 3460128 h 3689070"/>
              <a:gd name="connsiteX3" fmla="*/ 1959873 w 3013010"/>
              <a:gd name="connsiteY3" fmla="*/ 3591668 h 3689070"/>
              <a:gd name="connsiteX4" fmla="*/ 2160308 w 3013010"/>
              <a:gd name="connsiteY4" fmla="*/ 2875723 h 3689070"/>
              <a:gd name="connsiteX5" fmla="*/ 2530474 w 3013010"/>
              <a:gd name="connsiteY5" fmla="*/ 2410478 h 3689070"/>
              <a:gd name="connsiteX6" fmla="*/ 2791434 w 3013010"/>
              <a:gd name="connsiteY6" fmla="*/ 1791741 h 3689070"/>
              <a:gd name="connsiteX7" fmla="*/ 2909548 w 3013010"/>
              <a:gd name="connsiteY7" fmla="*/ 1249156 h 3689070"/>
              <a:gd name="connsiteX8" fmla="*/ 3002905 w 3013010"/>
              <a:gd name="connsiteY8" fmla="*/ 232856 h 3689070"/>
              <a:gd name="connsiteX9" fmla="*/ 2970181 w 3013010"/>
              <a:gd name="connsiteY9" fmla="*/ 3284 h 3689070"/>
              <a:gd name="connsiteX10" fmla="*/ 271813 w 3013010"/>
              <a:gd name="connsiteY10" fmla="*/ 0 h 3689070"/>
              <a:gd name="connsiteX11" fmla="*/ 51703 w 3013010"/>
              <a:gd name="connsiteY11" fmla="*/ 1398216 h 3689070"/>
              <a:gd name="connsiteX12" fmla="*/ 173473 w 3013010"/>
              <a:gd name="connsiteY12" fmla="*/ 3210121 h 3689070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679883 w 3013010"/>
              <a:gd name="connsiteY4" fmla="*/ 3073161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29134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459843"/>
              <a:gd name="connsiteY0" fmla="*/ 3210121 h 3517549"/>
              <a:gd name="connsiteX1" fmla="*/ 462949 w 3459843"/>
              <a:gd name="connsiteY1" fmla="*/ 3475881 h 3517549"/>
              <a:gd name="connsiteX2" fmla="*/ 1006076 w 3459843"/>
              <a:gd name="connsiteY2" fmla="*/ 3460128 h 3517549"/>
              <a:gd name="connsiteX3" fmla="*/ 1668913 w 3459843"/>
              <a:gd name="connsiteY3" fmla="*/ 3186400 h 3517549"/>
              <a:gd name="connsiteX4" fmla="*/ 2129134 w 3459843"/>
              <a:gd name="connsiteY4" fmla="*/ 2875723 h 3517549"/>
              <a:gd name="connsiteX5" fmla="*/ 2530474 w 3459843"/>
              <a:gd name="connsiteY5" fmla="*/ 2410478 h 3517549"/>
              <a:gd name="connsiteX6" fmla="*/ 2791434 w 3459843"/>
              <a:gd name="connsiteY6" fmla="*/ 1791741 h 3517549"/>
              <a:gd name="connsiteX7" fmla="*/ 2909548 w 3459843"/>
              <a:gd name="connsiteY7" fmla="*/ 1249156 h 3517549"/>
              <a:gd name="connsiteX8" fmla="*/ 3449739 w 3459843"/>
              <a:gd name="connsiteY8" fmla="*/ 690080 h 3517549"/>
              <a:gd name="connsiteX9" fmla="*/ 2970181 w 3459843"/>
              <a:gd name="connsiteY9" fmla="*/ 3284 h 3517549"/>
              <a:gd name="connsiteX10" fmla="*/ 271813 w 3459843"/>
              <a:gd name="connsiteY10" fmla="*/ 0 h 3517549"/>
              <a:gd name="connsiteX11" fmla="*/ 51703 w 3459843"/>
              <a:gd name="connsiteY11" fmla="*/ 1398216 h 3517549"/>
              <a:gd name="connsiteX12" fmla="*/ 173473 w 3459843"/>
              <a:gd name="connsiteY12" fmla="*/ 3210121 h 3517549"/>
              <a:gd name="connsiteX0" fmla="*/ 173473 w 2981836"/>
              <a:gd name="connsiteY0" fmla="*/ 3210121 h 3517549"/>
              <a:gd name="connsiteX1" fmla="*/ 462949 w 2981836"/>
              <a:gd name="connsiteY1" fmla="*/ 3475881 h 3517549"/>
              <a:gd name="connsiteX2" fmla="*/ 1006076 w 2981836"/>
              <a:gd name="connsiteY2" fmla="*/ 3460128 h 3517549"/>
              <a:gd name="connsiteX3" fmla="*/ 1668913 w 2981836"/>
              <a:gd name="connsiteY3" fmla="*/ 3186400 h 3517549"/>
              <a:gd name="connsiteX4" fmla="*/ 2129134 w 2981836"/>
              <a:gd name="connsiteY4" fmla="*/ 2875723 h 3517549"/>
              <a:gd name="connsiteX5" fmla="*/ 2530474 w 2981836"/>
              <a:gd name="connsiteY5" fmla="*/ 2410478 h 3517549"/>
              <a:gd name="connsiteX6" fmla="*/ 2791434 w 2981836"/>
              <a:gd name="connsiteY6" fmla="*/ 1791741 h 3517549"/>
              <a:gd name="connsiteX7" fmla="*/ 2909548 w 2981836"/>
              <a:gd name="connsiteY7" fmla="*/ 1249156 h 3517549"/>
              <a:gd name="connsiteX8" fmla="*/ 2971730 w 2981836"/>
              <a:gd name="connsiteY8" fmla="*/ 565382 h 3517549"/>
              <a:gd name="connsiteX9" fmla="*/ 2970181 w 2981836"/>
              <a:gd name="connsiteY9" fmla="*/ 3284 h 3517549"/>
              <a:gd name="connsiteX10" fmla="*/ 271813 w 2981836"/>
              <a:gd name="connsiteY10" fmla="*/ 0 h 3517549"/>
              <a:gd name="connsiteX11" fmla="*/ 51703 w 2981836"/>
              <a:gd name="connsiteY11" fmla="*/ 1398216 h 3517549"/>
              <a:gd name="connsiteX12" fmla="*/ 173473 w 2981836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85554 w 3115687"/>
              <a:gd name="connsiteY11" fmla="*/ 1398216 h 3517549"/>
              <a:gd name="connsiteX12" fmla="*/ 307324 w 3115687"/>
              <a:gd name="connsiteY12" fmla="*/ 3210121 h 3517549"/>
              <a:gd name="connsiteX0" fmla="*/ 713829 w 3522192"/>
              <a:gd name="connsiteY0" fmla="*/ 3210121 h 3517549"/>
              <a:gd name="connsiteX1" fmla="*/ 1003305 w 3522192"/>
              <a:gd name="connsiteY1" fmla="*/ 3475881 h 3517549"/>
              <a:gd name="connsiteX2" fmla="*/ 1546432 w 3522192"/>
              <a:gd name="connsiteY2" fmla="*/ 3460128 h 3517549"/>
              <a:gd name="connsiteX3" fmla="*/ 2209269 w 3522192"/>
              <a:gd name="connsiteY3" fmla="*/ 3186400 h 3517549"/>
              <a:gd name="connsiteX4" fmla="*/ 2669490 w 3522192"/>
              <a:gd name="connsiteY4" fmla="*/ 2875723 h 3517549"/>
              <a:gd name="connsiteX5" fmla="*/ 3070830 w 3522192"/>
              <a:gd name="connsiteY5" fmla="*/ 2410478 h 3517549"/>
              <a:gd name="connsiteX6" fmla="*/ 3331790 w 3522192"/>
              <a:gd name="connsiteY6" fmla="*/ 1791741 h 3517549"/>
              <a:gd name="connsiteX7" fmla="*/ 3449904 w 3522192"/>
              <a:gd name="connsiteY7" fmla="*/ 1249156 h 3517549"/>
              <a:gd name="connsiteX8" fmla="*/ 3512086 w 3522192"/>
              <a:gd name="connsiteY8" fmla="*/ 565382 h 3517549"/>
              <a:gd name="connsiteX9" fmla="*/ 3510537 w 3522192"/>
              <a:gd name="connsiteY9" fmla="*/ 3284 h 3517549"/>
              <a:gd name="connsiteX10" fmla="*/ 562775 w 3522192"/>
              <a:gd name="connsiteY10" fmla="*/ 0 h 3517549"/>
              <a:gd name="connsiteX11" fmla="*/ 51703 w 3522192"/>
              <a:gd name="connsiteY11" fmla="*/ 1398216 h 3517549"/>
              <a:gd name="connsiteX12" fmla="*/ 713829 w 3522192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443652 w 3252015"/>
              <a:gd name="connsiteY0" fmla="*/ 3210121 h 3517549"/>
              <a:gd name="connsiteX1" fmla="*/ 733128 w 3252015"/>
              <a:gd name="connsiteY1" fmla="*/ 3475881 h 3517549"/>
              <a:gd name="connsiteX2" fmla="*/ 1276255 w 3252015"/>
              <a:gd name="connsiteY2" fmla="*/ 3460128 h 3517549"/>
              <a:gd name="connsiteX3" fmla="*/ 1939092 w 3252015"/>
              <a:gd name="connsiteY3" fmla="*/ 3186400 h 3517549"/>
              <a:gd name="connsiteX4" fmla="*/ 2399313 w 3252015"/>
              <a:gd name="connsiteY4" fmla="*/ 2875723 h 3517549"/>
              <a:gd name="connsiteX5" fmla="*/ 2800653 w 3252015"/>
              <a:gd name="connsiteY5" fmla="*/ 2410478 h 3517549"/>
              <a:gd name="connsiteX6" fmla="*/ 3061613 w 3252015"/>
              <a:gd name="connsiteY6" fmla="*/ 1791741 h 3517549"/>
              <a:gd name="connsiteX7" fmla="*/ 3179727 w 3252015"/>
              <a:gd name="connsiteY7" fmla="*/ 1249156 h 3517549"/>
              <a:gd name="connsiteX8" fmla="*/ 3241909 w 3252015"/>
              <a:gd name="connsiteY8" fmla="*/ 565382 h 3517549"/>
              <a:gd name="connsiteX9" fmla="*/ 3240360 w 3252015"/>
              <a:gd name="connsiteY9" fmla="*/ 3284 h 3517549"/>
              <a:gd name="connsiteX10" fmla="*/ 292598 w 3252015"/>
              <a:gd name="connsiteY10" fmla="*/ 0 h 3517549"/>
              <a:gd name="connsiteX11" fmla="*/ 51703 w 3252015"/>
              <a:gd name="connsiteY11" fmla="*/ 1398216 h 3517549"/>
              <a:gd name="connsiteX12" fmla="*/ 443652 w 3252015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95161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438080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126335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531074 w 3339437"/>
              <a:gd name="connsiteY0" fmla="*/ 3210121 h 3517549"/>
              <a:gd name="connsiteX1" fmla="*/ 820550 w 3339437"/>
              <a:gd name="connsiteY1" fmla="*/ 3475881 h 3517549"/>
              <a:gd name="connsiteX2" fmla="*/ 1363677 w 3339437"/>
              <a:gd name="connsiteY2" fmla="*/ 3460128 h 3517549"/>
              <a:gd name="connsiteX3" fmla="*/ 2026514 w 3339437"/>
              <a:gd name="connsiteY3" fmla="*/ 3186400 h 3517549"/>
              <a:gd name="connsiteX4" fmla="*/ 2486735 w 3339437"/>
              <a:gd name="connsiteY4" fmla="*/ 2875723 h 3517549"/>
              <a:gd name="connsiteX5" fmla="*/ 2888075 w 3339437"/>
              <a:gd name="connsiteY5" fmla="*/ 2410478 h 3517549"/>
              <a:gd name="connsiteX6" fmla="*/ 3149035 w 3339437"/>
              <a:gd name="connsiteY6" fmla="*/ 1791741 h 3517549"/>
              <a:gd name="connsiteX7" fmla="*/ 3267149 w 3339437"/>
              <a:gd name="connsiteY7" fmla="*/ 1249156 h 3517549"/>
              <a:gd name="connsiteX8" fmla="*/ 3329331 w 3339437"/>
              <a:gd name="connsiteY8" fmla="*/ 565382 h 3517549"/>
              <a:gd name="connsiteX9" fmla="*/ 3327782 w 3339437"/>
              <a:gd name="connsiteY9" fmla="*/ 3284 h 3517549"/>
              <a:gd name="connsiteX10" fmla="*/ 41961 w 3339437"/>
              <a:gd name="connsiteY10" fmla="*/ 0 h 3517549"/>
              <a:gd name="connsiteX11" fmla="*/ 336562 w 3339437"/>
              <a:gd name="connsiteY11" fmla="*/ 1398216 h 3517549"/>
              <a:gd name="connsiteX12" fmla="*/ 531074 w 3339437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59203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34461 w 3037336"/>
              <a:gd name="connsiteY0" fmla="*/ 1398216 h 3819531"/>
              <a:gd name="connsiteX1" fmla="*/ 518449 w 3037336"/>
              <a:gd name="connsiteY1" fmla="*/ 3475881 h 3819531"/>
              <a:gd name="connsiteX2" fmla="*/ 1061576 w 3037336"/>
              <a:gd name="connsiteY2" fmla="*/ 3460128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061580 w 3037340"/>
              <a:gd name="connsiteY2" fmla="*/ 3460128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34461 w 3037336"/>
              <a:gd name="connsiteY0" fmla="*/ 1398216 h 3959956"/>
              <a:gd name="connsiteX1" fmla="*/ 518449 w 3037336"/>
              <a:gd name="connsiteY1" fmla="*/ 3475881 h 3959956"/>
              <a:gd name="connsiteX2" fmla="*/ 1061576 w 3037336"/>
              <a:gd name="connsiteY2" fmla="*/ 3911707 h 3959956"/>
              <a:gd name="connsiteX3" fmla="*/ 1724413 w 3037336"/>
              <a:gd name="connsiteY3" fmla="*/ 3186400 h 3959956"/>
              <a:gd name="connsiteX4" fmla="*/ 2184634 w 3037336"/>
              <a:gd name="connsiteY4" fmla="*/ 2875723 h 3959956"/>
              <a:gd name="connsiteX5" fmla="*/ 2585974 w 3037336"/>
              <a:gd name="connsiteY5" fmla="*/ 2410478 h 3959956"/>
              <a:gd name="connsiteX6" fmla="*/ 2846934 w 3037336"/>
              <a:gd name="connsiteY6" fmla="*/ 1791741 h 3959956"/>
              <a:gd name="connsiteX7" fmla="*/ 2965048 w 3037336"/>
              <a:gd name="connsiteY7" fmla="*/ 1249156 h 3959956"/>
              <a:gd name="connsiteX8" fmla="*/ 3027230 w 3037336"/>
              <a:gd name="connsiteY8" fmla="*/ 565382 h 3959956"/>
              <a:gd name="connsiteX9" fmla="*/ 3025681 w 3037336"/>
              <a:gd name="connsiteY9" fmla="*/ 3284 h 3959956"/>
              <a:gd name="connsiteX10" fmla="*/ 41961 w 3037336"/>
              <a:gd name="connsiteY10" fmla="*/ 0 h 3959956"/>
              <a:gd name="connsiteX11" fmla="*/ 34461 w 3037336"/>
              <a:gd name="connsiteY11" fmla="*/ 1398216 h 3959956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279762 w 3037340"/>
              <a:gd name="connsiteY2" fmla="*/ 3531433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140355 w 3143230"/>
              <a:gd name="connsiteY0" fmla="*/ 1398216 h 3819531"/>
              <a:gd name="connsiteX1" fmla="*/ 305455 w 3143230"/>
              <a:gd name="connsiteY1" fmla="*/ 3475879 h 3819531"/>
              <a:gd name="connsiteX2" fmla="*/ 1385652 w 3143230"/>
              <a:gd name="connsiteY2" fmla="*/ 3531433 h 3819531"/>
              <a:gd name="connsiteX3" fmla="*/ 1830307 w 3143230"/>
              <a:gd name="connsiteY3" fmla="*/ 3186400 h 3819531"/>
              <a:gd name="connsiteX4" fmla="*/ 2290528 w 3143230"/>
              <a:gd name="connsiteY4" fmla="*/ 2875723 h 3819531"/>
              <a:gd name="connsiteX5" fmla="*/ 2691868 w 3143230"/>
              <a:gd name="connsiteY5" fmla="*/ 2410478 h 3819531"/>
              <a:gd name="connsiteX6" fmla="*/ 2952828 w 3143230"/>
              <a:gd name="connsiteY6" fmla="*/ 1791741 h 3819531"/>
              <a:gd name="connsiteX7" fmla="*/ 3070942 w 3143230"/>
              <a:gd name="connsiteY7" fmla="*/ 1249156 h 3819531"/>
              <a:gd name="connsiteX8" fmla="*/ 3133124 w 3143230"/>
              <a:gd name="connsiteY8" fmla="*/ 565382 h 3819531"/>
              <a:gd name="connsiteX9" fmla="*/ 3131575 w 3143230"/>
              <a:gd name="connsiteY9" fmla="*/ 3284 h 3819531"/>
              <a:gd name="connsiteX10" fmla="*/ 147855 w 3143230"/>
              <a:gd name="connsiteY10" fmla="*/ 0 h 3819531"/>
              <a:gd name="connsiteX11" fmla="*/ 140355 w 3143230"/>
              <a:gd name="connsiteY11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184638 w 3037340"/>
              <a:gd name="connsiteY3" fmla="*/ 2875723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587435 w 3037336"/>
              <a:gd name="connsiteY3" fmla="*/ 3612503 h 3819531"/>
              <a:gd name="connsiteX4" fmla="*/ 2585974 w 3037336"/>
              <a:gd name="connsiteY4" fmla="*/ 2410478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787377 w 3037340"/>
              <a:gd name="connsiteY4" fmla="*/ 2410480 h 3819531"/>
              <a:gd name="connsiteX5" fmla="*/ 2965052 w 3037340"/>
              <a:gd name="connsiteY5" fmla="*/ 1249156 h 3819531"/>
              <a:gd name="connsiteX6" fmla="*/ 3027234 w 3037340"/>
              <a:gd name="connsiteY6" fmla="*/ 565382 h 3819531"/>
              <a:gd name="connsiteX7" fmla="*/ 3025685 w 3037340"/>
              <a:gd name="connsiteY7" fmla="*/ 3284 h 3819531"/>
              <a:gd name="connsiteX8" fmla="*/ 41965 w 3037340"/>
              <a:gd name="connsiteY8" fmla="*/ 0 h 3819531"/>
              <a:gd name="connsiteX9" fmla="*/ 34465 w 3037340"/>
              <a:gd name="connsiteY9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965050 w 3037336"/>
              <a:gd name="connsiteY5" fmla="*/ 2009709 h 3819531"/>
              <a:gd name="connsiteX6" fmla="*/ 3027230 w 3037336"/>
              <a:gd name="connsiteY6" fmla="*/ 565382 h 3819531"/>
              <a:gd name="connsiteX7" fmla="*/ 3025681 w 3037336"/>
              <a:gd name="connsiteY7" fmla="*/ 3284 h 3819531"/>
              <a:gd name="connsiteX8" fmla="*/ 41961 w 3037336"/>
              <a:gd name="connsiteY8" fmla="*/ 0 h 3819531"/>
              <a:gd name="connsiteX9" fmla="*/ 34461 w 3037336"/>
              <a:gd name="connsiteY9" fmla="*/ 1398216 h 3819531"/>
              <a:gd name="connsiteX0" fmla="*/ 34465 w 3357480"/>
              <a:gd name="connsiteY0" fmla="*/ 1398216 h 3819531"/>
              <a:gd name="connsiteX1" fmla="*/ 468098 w 3357480"/>
              <a:gd name="connsiteY1" fmla="*/ 3475879 h 3819531"/>
              <a:gd name="connsiteX2" fmla="*/ 1279762 w 3357480"/>
              <a:gd name="connsiteY2" fmla="*/ 3531433 h 3819531"/>
              <a:gd name="connsiteX3" fmla="*/ 2302125 w 3357480"/>
              <a:gd name="connsiteY3" fmla="*/ 2899486 h 3819531"/>
              <a:gd name="connsiteX4" fmla="*/ 2787377 w 3357480"/>
              <a:gd name="connsiteY4" fmla="*/ 2410480 h 3819531"/>
              <a:gd name="connsiteX5" fmla="*/ 3317505 w 3357480"/>
              <a:gd name="connsiteY5" fmla="*/ 2009709 h 3819531"/>
              <a:gd name="connsiteX6" fmla="*/ 3027234 w 3357480"/>
              <a:gd name="connsiteY6" fmla="*/ 565382 h 3819531"/>
              <a:gd name="connsiteX7" fmla="*/ 3025685 w 3357480"/>
              <a:gd name="connsiteY7" fmla="*/ 3284 h 3819531"/>
              <a:gd name="connsiteX8" fmla="*/ 41965 w 3357480"/>
              <a:gd name="connsiteY8" fmla="*/ 0 h 3819531"/>
              <a:gd name="connsiteX9" fmla="*/ 34465 w 3357480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065750"/>
              <a:gd name="connsiteY0" fmla="*/ 1398216 h 3819531"/>
              <a:gd name="connsiteX1" fmla="*/ 468094 w 3065750"/>
              <a:gd name="connsiteY1" fmla="*/ 3475879 h 3819531"/>
              <a:gd name="connsiteX2" fmla="*/ 1279758 w 3065750"/>
              <a:gd name="connsiteY2" fmla="*/ 3531433 h 3819531"/>
              <a:gd name="connsiteX3" fmla="*/ 2302121 w 3065750"/>
              <a:gd name="connsiteY3" fmla="*/ 2899486 h 3819531"/>
              <a:gd name="connsiteX4" fmla="*/ 2787373 w 3065750"/>
              <a:gd name="connsiteY4" fmla="*/ 2410480 h 3819531"/>
              <a:gd name="connsiteX5" fmla="*/ 3065750 w 3065750"/>
              <a:gd name="connsiteY5" fmla="*/ 2009709 h 3819531"/>
              <a:gd name="connsiteX6" fmla="*/ 3027230 w 3065750"/>
              <a:gd name="connsiteY6" fmla="*/ 565382 h 3819531"/>
              <a:gd name="connsiteX7" fmla="*/ 3025681 w 3065750"/>
              <a:gd name="connsiteY7" fmla="*/ 3284 h 3819531"/>
              <a:gd name="connsiteX8" fmla="*/ 41961 w 3065750"/>
              <a:gd name="connsiteY8" fmla="*/ 0 h 3819531"/>
              <a:gd name="connsiteX9" fmla="*/ 34461 w 3065750"/>
              <a:gd name="connsiteY9" fmla="*/ 1398216 h 3819531"/>
              <a:gd name="connsiteX0" fmla="*/ 34465 w 3065754"/>
              <a:gd name="connsiteY0" fmla="*/ 1398216 h 3819531"/>
              <a:gd name="connsiteX1" fmla="*/ 468098 w 3065754"/>
              <a:gd name="connsiteY1" fmla="*/ 3475879 h 3819531"/>
              <a:gd name="connsiteX2" fmla="*/ 1279762 w 3065754"/>
              <a:gd name="connsiteY2" fmla="*/ 3531433 h 3819531"/>
              <a:gd name="connsiteX3" fmla="*/ 2302125 w 3065754"/>
              <a:gd name="connsiteY3" fmla="*/ 2899486 h 3819531"/>
              <a:gd name="connsiteX4" fmla="*/ 2787377 w 3065754"/>
              <a:gd name="connsiteY4" fmla="*/ 2410480 h 3819531"/>
              <a:gd name="connsiteX5" fmla="*/ 3065754 w 3065754"/>
              <a:gd name="connsiteY5" fmla="*/ 2009709 h 3819531"/>
              <a:gd name="connsiteX6" fmla="*/ 3027234 w 3065754"/>
              <a:gd name="connsiteY6" fmla="*/ 565382 h 3819531"/>
              <a:gd name="connsiteX7" fmla="*/ 3025685 w 3065754"/>
              <a:gd name="connsiteY7" fmla="*/ 3284 h 3819531"/>
              <a:gd name="connsiteX8" fmla="*/ 41965 w 3065754"/>
              <a:gd name="connsiteY8" fmla="*/ 0 h 3819531"/>
              <a:gd name="connsiteX9" fmla="*/ 34465 w 3065754"/>
              <a:gd name="connsiteY9" fmla="*/ 1398216 h 3819531"/>
              <a:gd name="connsiteX0" fmla="*/ 34461 w 3529646"/>
              <a:gd name="connsiteY0" fmla="*/ 1398216 h 3819531"/>
              <a:gd name="connsiteX1" fmla="*/ 468094 w 3529646"/>
              <a:gd name="connsiteY1" fmla="*/ 3475879 h 3819531"/>
              <a:gd name="connsiteX2" fmla="*/ 1279758 w 3529646"/>
              <a:gd name="connsiteY2" fmla="*/ 3531433 h 3819531"/>
              <a:gd name="connsiteX3" fmla="*/ 2302121 w 3529646"/>
              <a:gd name="connsiteY3" fmla="*/ 2899486 h 3819531"/>
              <a:gd name="connsiteX4" fmla="*/ 2787373 w 3529646"/>
              <a:gd name="connsiteY4" fmla="*/ 2410480 h 3819531"/>
              <a:gd name="connsiteX5" fmla="*/ 3065750 w 3529646"/>
              <a:gd name="connsiteY5" fmla="*/ 2009709 h 3819531"/>
              <a:gd name="connsiteX6" fmla="*/ 3025681 w 3529646"/>
              <a:gd name="connsiteY6" fmla="*/ 3284 h 3819531"/>
              <a:gd name="connsiteX7" fmla="*/ 41961 w 3529646"/>
              <a:gd name="connsiteY7" fmla="*/ 0 h 3819531"/>
              <a:gd name="connsiteX8" fmla="*/ 34461 w 3529646"/>
              <a:gd name="connsiteY8" fmla="*/ 1398216 h 3819531"/>
              <a:gd name="connsiteX0" fmla="*/ 34465 w 3105472"/>
              <a:gd name="connsiteY0" fmla="*/ 1398216 h 3819531"/>
              <a:gd name="connsiteX1" fmla="*/ 468098 w 3105472"/>
              <a:gd name="connsiteY1" fmla="*/ 3475879 h 3819531"/>
              <a:gd name="connsiteX2" fmla="*/ 1279762 w 3105472"/>
              <a:gd name="connsiteY2" fmla="*/ 3531433 h 3819531"/>
              <a:gd name="connsiteX3" fmla="*/ 2302125 w 3105472"/>
              <a:gd name="connsiteY3" fmla="*/ 2899486 h 3819531"/>
              <a:gd name="connsiteX4" fmla="*/ 2787377 w 3105472"/>
              <a:gd name="connsiteY4" fmla="*/ 2410480 h 3819531"/>
              <a:gd name="connsiteX5" fmla="*/ 3065754 w 3105472"/>
              <a:gd name="connsiteY5" fmla="*/ 2009709 h 3819531"/>
              <a:gd name="connsiteX6" fmla="*/ 3025685 w 3105472"/>
              <a:gd name="connsiteY6" fmla="*/ 3284 h 3819531"/>
              <a:gd name="connsiteX7" fmla="*/ 41965 w 3105472"/>
              <a:gd name="connsiteY7" fmla="*/ 0 h 3819531"/>
              <a:gd name="connsiteX8" fmla="*/ 34465 w 3105472"/>
              <a:gd name="connsiteY8" fmla="*/ 1398216 h 3819531"/>
              <a:gd name="connsiteX0" fmla="*/ 34461 w 3546432"/>
              <a:gd name="connsiteY0" fmla="*/ 1442468 h 3863783"/>
              <a:gd name="connsiteX1" fmla="*/ 468094 w 3546432"/>
              <a:gd name="connsiteY1" fmla="*/ 3520131 h 3863783"/>
              <a:gd name="connsiteX2" fmla="*/ 1279758 w 3546432"/>
              <a:gd name="connsiteY2" fmla="*/ 3575685 h 3863783"/>
              <a:gd name="connsiteX3" fmla="*/ 2302121 w 3546432"/>
              <a:gd name="connsiteY3" fmla="*/ 2943738 h 3863783"/>
              <a:gd name="connsiteX4" fmla="*/ 2787373 w 3546432"/>
              <a:gd name="connsiteY4" fmla="*/ 2454732 h 3863783"/>
              <a:gd name="connsiteX5" fmla="*/ 3065750 w 3546432"/>
              <a:gd name="connsiteY5" fmla="*/ 2053961 h 3863783"/>
              <a:gd name="connsiteX6" fmla="*/ 3478832 w 3546432"/>
              <a:gd name="connsiteY6" fmla="*/ 0 h 3863783"/>
              <a:gd name="connsiteX7" fmla="*/ 41961 w 3546432"/>
              <a:gd name="connsiteY7" fmla="*/ 44252 h 3863783"/>
              <a:gd name="connsiteX8" fmla="*/ 34461 w 3546432"/>
              <a:gd name="connsiteY8" fmla="*/ 1442468 h 3863783"/>
              <a:gd name="connsiteX0" fmla="*/ 34465 w 3479304"/>
              <a:gd name="connsiteY0" fmla="*/ 1442468 h 3863783"/>
              <a:gd name="connsiteX1" fmla="*/ 468098 w 3479304"/>
              <a:gd name="connsiteY1" fmla="*/ 3520131 h 3863783"/>
              <a:gd name="connsiteX2" fmla="*/ 1279762 w 3479304"/>
              <a:gd name="connsiteY2" fmla="*/ 3575685 h 3863783"/>
              <a:gd name="connsiteX3" fmla="*/ 2302125 w 3479304"/>
              <a:gd name="connsiteY3" fmla="*/ 2943738 h 3863783"/>
              <a:gd name="connsiteX4" fmla="*/ 2787377 w 3479304"/>
              <a:gd name="connsiteY4" fmla="*/ 2454732 h 3863783"/>
              <a:gd name="connsiteX5" fmla="*/ 3065754 w 3479304"/>
              <a:gd name="connsiteY5" fmla="*/ 2053961 h 3863783"/>
              <a:gd name="connsiteX6" fmla="*/ 3478836 w 3479304"/>
              <a:gd name="connsiteY6" fmla="*/ 0 h 3863783"/>
              <a:gd name="connsiteX7" fmla="*/ 41965 w 3479304"/>
              <a:gd name="connsiteY7" fmla="*/ 44252 h 3863783"/>
              <a:gd name="connsiteX8" fmla="*/ 34465 w 3479304"/>
              <a:gd name="connsiteY8" fmla="*/ 1442468 h 3863783"/>
              <a:gd name="connsiteX0" fmla="*/ 34461 w 3105468"/>
              <a:gd name="connsiteY0" fmla="*/ 1442468 h 3863783"/>
              <a:gd name="connsiteX1" fmla="*/ 468094 w 3105468"/>
              <a:gd name="connsiteY1" fmla="*/ 3520131 h 3863783"/>
              <a:gd name="connsiteX2" fmla="*/ 1279758 w 3105468"/>
              <a:gd name="connsiteY2" fmla="*/ 3575685 h 3863783"/>
              <a:gd name="connsiteX3" fmla="*/ 2302121 w 3105468"/>
              <a:gd name="connsiteY3" fmla="*/ 2943738 h 3863783"/>
              <a:gd name="connsiteX4" fmla="*/ 2787373 w 3105468"/>
              <a:gd name="connsiteY4" fmla="*/ 2454732 h 3863783"/>
              <a:gd name="connsiteX5" fmla="*/ 3065750 w 3105468"/>
              <a:gd name="connsiteY5" fmla="*/ 2053961 h 3863783"/>
              <a:gd name="connsiteX6" fmla="*/ 3092817 w 3105468"/>
              <a:gd name="connsiteY6" fmla="*/ 0 h 3863783"/>
              <a:gd name="connsiteX7" fmla="*/ 41961 w 3105468"/>
              <a:gd name="connsiteY7" fmla="*/ 44252 h 3863783"/>
              <a:gd name="connsiteX8" fmla="*/ 34461 w 3105468"/>
              <a:gd name="connsiteY8" fmla="*/ 1442468 h 3863783"/>
              <a:gd name="connsiteX0" fmla="*/ 375324 w 3446331"/>
              <a:gd name="connsiteY0" fmla="*/ 1442468 h 4814470"/>
              <a:gd name="connsiteX1" fmla="*/ 305455 w 3446331"/>
              <a:gd name="connsiteY1" fmla="*/ 4470819 h 4814470"/>
              <a:gd name="connsiteX2" fmla="*/ 1620621 w 3446331"/>
              <a:gd name="connsiteY2" fmla="*/ 3575685 h 4814470"/>
              <a:gd name="connsiteX3" fmla="*/ 2642984 w 3446331"/>
              <a:gd name="connsiteY3" fmla="*/ 2943738 h 4814470"/>
              <a:gd name="connsiteX4" fmla="*/ 3128236 w 3446331"/>
              <a:gd name="connsiteY4" fmla="*/ 2454732 h 4814470"/>
              <a:gd name="connsiteX5" fmla="*/ 3406613 w 3446331"/>
              <a:gd name="connsiteY5" fmla="*/ 2053961 h 4814470"/>
              <a:gd name="connsiteX6" fmla="*/ 3433680 w 3446331"/>
              <a:gd name="connsiteY6" fmla="*/ 0 h 4814470"/>
              <a:gd name="connsiteX7" fmla="*/ 382824 w 3446331"/>
              <a:gd name="connsiteY7" fmla="*/ 44252 h 4814470"/>
              <a:gd name="connsiteX8" fmla="*/ 375324 w 3446331"/>
              <a:gd name="connsiteY8" fmla="*/ 1442468 h 4814470"/>
              <a:gd name="connsiteX0" fmla="*/ 34461 w 3105468"/>
              <a:gd name="connsiteY0" fmla="*/ 1442468 h 3624215"/>
              <a:gd name="connsiteX1" fmla="*/ 384180 w 3105468"/>
              <a:gd name="connsiteY1" fmla="*/ 3234924 h 3624215"/>
              <a:gd name="connsiteX2" fmla="*/ 1279758 w 3105468"/>
              <a:gd name="connsiteY2" fmla="*/ 3575685 h 3624215"/>
              <a:gd name="connsiteX3" fmla="*/ 2302121 w 3105468"/>
              <a:gd name="connsiteY3" fmla="*/ 2943738 h 3624215"/>
              <a:gd name="connsiteX4" fmla="*/ 2787373 w 3105468"/>
              <a:gd name="connsiteY4" fmla="*/ 2454732 h 3624215"/>
              <a:gd name="connsiteX5" fmla="*/ 3065750 w 3105468"/>
              <a:gd name="connsiteY5" fmla="*/ 2053961 h 3624215"/>
              <a:gd name="connsiteX6" fmla="*/ 3092817 w 3105468"/>
              <a:gd name="connsiteY6" fmla="*/ 0 h 3624215"/>
              <a:gd name="connsiteX7" fmla="*/ 41961 w 3105468"/>
              <a:gd name="connsiteY7" fmla="*/ 44252 h 3624215"/>
              <a:gd name="connsiteX8" fmla="*/ 34461 w 3105468"/>
              <a:gd name="connsiteY8" fmla="*/ 1442468 h 3624215"/>
              <a:gd name="connsiteX0" fmla="*/ 34465 w 3105472"/>
              <a:gd name="connsiteY0" fmla="*/ 1442468 h 4907646"/>
              <a:gd name="connsiteX1" fmla="*/ 384184 w 3105472"/>
              <a:gd name="connsiteY1" fmla="*/ 3234924 h 4907646"/>
              <a:gd name="connsiteX2" fmla="*/ 1279763 w 3105472"/>
              <a:gd name="connsiteY2" fmla="*/ 4859116 h 4907646"/>
              <a:gd name="connsiteX3" fmla="*/ 2302125 w 3105472"/>
              <a:gd name="connsiteY3" fmla="*/ 2943738 h 4907646"/>
              <a:gd name="connsiteX4" fmla="*/ 2787377 w 3105472"/>
              <a:gd name="connsiteY4" fmla="*/ 2454732 h 4907646"/>
              <a:gd name="connsiteX5" fmla="*/ 3065754 w 3105472"/>
              <a:gd name="connsiteY5" fmla="*/ 2053961 h 4907646"/>
              <a:gd name="connsiteX6" fmla="*/ 3092821 w 3105472"/>
              <a:gd name="connsiteY6" fmla="*/ 0 h 4907646"/>
              <a:gd name="connsiteX7" fmla="*/ 41965 w 3105472"/>
              <a:gd name="connsiteY7" fmla="*/ 44252 h 4907646"/>
              <a:gd name="connsiteX8" fmla="*/ 34465 w 3105472"/>
              <a:gd name="connsiteY8" fmla="*/ 1442468 h 4907646"/>
              <a:gd name="connsiteX0" fmla="*/ 34461 w 3105468"/>
              <a:gd name="connsiteY0" fmla="*/ 1442468 h 3671746"/>
              <a:gd name="connsiteX1" fmla="*/ 384180 w 3105468"/>
              <a:gd name="connsiteY1" fmla="*/ 3234924 h 3671746"/>
              <a:gd name="connsiteX2" fmla="*/ 1044790 w 3105468"/>
              <a:gd name="connsiteY2" fmla="*/ 3623216 h 3671746"/>
              <a:gd name="connsiteX3" fmla="*/ 2302121 w 3105468"/>
              <a:gd name="connsiteY3" fmla="*/ 2943738 h 3671746"/>
              <a:gd name="connsiteX4" fmla="*/ 2787373 w 3105468"/>
              <a:gd name="connsiteY4" fmla="*/ 2454732 h 3671746"/>
              <a:gd name="connsiteX5" fmla="*/ 3065750 w 3105468"/>
              <a:gd name="connsiteY5" fmla="*/ 2053961 h 3671746"/>
              <a:gd name="connsiteX6" fmla="*/ 3092817 w 3105468"/>
              <a:gd name="connsiteY6" fmla="*/ 0 h 3671746"/>
              <a:gd name="connsiteX7" fmla="*/ 41961 w 3105468"/>
              <a:gd name="connsiteY7" fmla="*/ 44252 h 3671746"/>
              <a:gd name="connsiteX8" fmla="*/ 34461 w 3105468"/>
              <a:gd name="connsiteY8" fmla="*/ 1442468 h 3671746"/>
              <a:gd name="connsiteX0" fmla="*/ 677421 w 3748428"/>
              <a:gd name="connsiteY0" fmla="*/ 1442468 h 4576800"/>
              <a:gd name="connsiteX1" fmla="*/ 305455 w 3748428"/>
              <a:gd name="connsiteY1" fmla="*/ 4233149 h 4576800"/>
              <a:gd name="connsiteX2" fmla="*/ 1687750 w 3748428"/>
              <a:gd name="connsiteY2" fmla="*/ 3623216 h 4576800"/>
              <a:gd name="connsiteX3" fmla="*/ 2945081 w 3748428"/>
              <a:gd name="connsiteY3" fmla="*/ 2943738 h 4576800"/>
              <a:gd name="connsiteX4" fmla="*/ 3430333 w 3748428"/>
              <a:gd name="connsiteY4" fmla="*/ 2454732 h 4576800"/>
              <a:gd name="connsiteX5" fmla="*/ 3708710 w 3748428"/>
              <a:gd name="connsiteY5" fmla="*/ 2053961 h 4576800"/>
              <a:gd name="connsiteX6" fmla="*/ 3735777 w 3748428"/>
              <a:gd name="connsiteY6" fmla="*/ 0 h 4576800"/>
              <a:gd name="connsiteX7" fmla="*/ 684921 w 3748428"/>
              <a:gd name="connsiteY7" fmla="*/ 44252 h 4576800"/>
              <a:gd name="connsiteX8" fmla="*/ 677421 w 3748428"/>
              <a:gd name="connsiteY8" fmla="*/ 1442468 h 4576800"/>
              <a:gd name="connsiteX0" fmla="*/ 34461 w 3105468"/>
              <a:gd name="connsiteY0" fmla="*/ 1442468 h 3667788"/>
              <a:gd name="connsiteX1" fmla="*/ 333829 w 3105468"/>
              <a:gd name="connsiteY1" fmla="*/ 3211159 h 3667788"/>
              <a:gd name="connsiteX2" fmla="*/ 1044790 w 3105468"/>
              <a:gd name="connsiteY2" fmla="*/ 3623216 h 3667788"/>
              <a:gd name="connsiteX3" fmla="*/ 2302121 w 3105468"/>
              <a:gd name="connsiteY3" fmla="*/ 2943738 h 3667788"/>
              <a:gd name="connsiteX4" fmla="*/ 2787373 w 3105468"/>
              <a:gd name="connsiteY4" fmla="*/ 2454732 h 3667788"/>
              <a:gd name="connsiteX5" fmla="*/ 3065750 w 3105468"/>
              <a:gd name="connsiteY5" fmla="*/ 2053961 h 3667788"/>
              <a:gd name="connsiteX6" fmla="*/ 3092817 w 3105468"/>
              <a:gd name="connsiteY6" fmla="*/ 0 h 3667788"/>
              <a:gd name="connsiteX7" fmla="*/ 41961 w 3105468"/>
              <a:gd name="connsiteY7" fmla="*/ 44252 h 3667788"/>
              <a:gd name="connsiteX8" fmla="*/ 34461 w 3105468"/>
              <a:gd name="connsiteY8" fmla="*/ 1442468 h 3667788"/>
              <a:gd name="connsiteX0" fmla="*/ 34465 w 3105472"/>
              <a:gd name="connsiteY0" fmla="*/ 1442468 h 3994108"/>
              <a:gd name="connsiteX1" fmla="*/ 333833 w 3105472"/>
              <a:gd name="connsiteY1" fmla="*/ 3211159 h 3994108"/>
              <a:gd name="connsiteX2" fmla="*/ 1044794 w 3105472"/>
              <a:gd name="connsiteY2" fmla="*/ 3623216 h 3994108"/>
              <a:gd name="connsiteX3" fmla="*/ 2302125 w 3105472"/>
              <a:gd name="connsiteY3" fmla="*/ 3799359 h 3994108"/>
              <a:gd name="connsiteX4" fmla="*/ 2787377 w 3105472"/>
              <a:gd name="connsiteY4" fmla="*/ 2454732 h 3994108"/>
              <a:gd name="connsiteX5" fmla="*/ 3065754 w 3105472"/>
              <a:gd name="connsiteY5" fmla="*/ 2053961 h 3994108"/>
              <a:gd name="connsiteX6" fmla="*/ 3092821 w 3105472"/>
              <a:gd name="connsiteY6" fmla="*/ 0 h 3994108"/>
              <a:gd name="connsiteX7" fmla="*/ 41965 w 3105472"/>
              <a:gd name="connsiteY7" fmla="*/ 44252 h 3994108"/>
              <a:gd name="connsiteX8" fmla="*/ 34465 w 3105472"/>
              <a:gd name="connsiteY8" fmla="*/ 1442468 h 3994108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44252 h 3636095"/>
              <a:gd name="connsiteX8" fmla="*/ 34461 w 3105468"/>
              <a:gd name="connsiteY8" fmla="*/ 1442468 h 3636095"/>
              <a:gd name="connsiteX0" fmla="*/ 34465 w 3105472"/>
              <a:gd name="connsiteY0" fmla="*/ 1683423 h 3877050"/>
              <a:gd name="connsiteX1" fmla="*/ 333833 w 3105472"/>
              <a:gd name="connsiteY1" fmla="*/ 3452114 h 3877050"/>
              <a:gd name="connsiteX2" fmla="*/ 1044794 w 3105472"/>
              <a:gd name="connsiteY2" fmla="*/ 3864171 h 3877050"/>
              <a:gd name="connsiteX3" fmla="*/ 2000024 w 3105472"/>
              <a:gd name="connsiteY3" fmla="*/ 3374833 h 3877050"/>
              <a:gd name="connsiteX4" fmla="*/ 2787377 w 3105472"/>
              <a:gd name="connsiteY4" fmla="*/ 2695687 h 3877050"/>
              <a:gd name="connsiteX5" fmla="*/ 3065754 w 3105472"/>
              <a:gd name="connsiteY5" fmla="*/ 2294916 h 3877050"/>
              <a:gd name="connsiteX6" fmla="*/ 3092821 w 3105472"/>
              <a:gd name="connsiteY6" fmla="*/ 240955 h 3877050"/>
              <a:gd name="connsiteX7" fmla="*/ 41965 w 3105472"/>
              <a:gd name="connsiteY7" fmla="*/ 0 h 3877050"/>
              <a:gd name="connsiteX8" fmla="*/ 34465 w 3105472"/>
              <a:gd name="connsiteY8" fmla="*/ 1683423 h 3877050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8601 h 3636095"/>
              <a:gd name="connsiteX8" fmla="*/ 34461 w 3105468"/>
              <a:gd name="connsiteY8" fmla="*/ 1442468 h 3636095"/>
              <a:gd name="connsiteX0" fmla="*/ 34465 w 3281698"/>
              <a:gd name="connsiteY0" fmla="*/ 1442468 h 3636095"/>
              <a:gd name="connsiteX1" fmla="*/ 333833 w 3281698"/>
              <a:gd name="connsiteY1" fmla="*/ 3211159 h 3636095"/>
              <a:gd name="connsiteX2" fmla="*/ 1044794 w 3281698"/>
              <a:gd name="connsiteY2" fmla="*/ 3623216 h 3636095"/>
              <a:gd name="connsiteX3" fmla="*/ 2000024 w 3281698"/>
              <a:gd name="connsiteY3" fmla="*/ 3133878 h 3636095"/>
              <a:gd name="connsiteX4" fmla="*/ 2787377 w 3281698"/>
              <a:gd name="connsiteY4" fmla="*/ 2454732 h 3636095"/>
              <a:gd name="connsiteX5" fmla="*/ 3241980 w 3281698"/>
              <a:gd name="connsiteY5" fmla="*/ 2053961 h 3636095"/>
              <a:gd name="connsiteX6" fmla="*/ 3092821 w 3281698"/>
              <a:gd name="connsiteY6" fmla="*/ 0 h 3636095"/>
              <a:gd name="connsiteX7" fmla="*/ 41965 w 3281698"/>
              <a:gd name="connsiteY7" fmla="*/ 8601 h 3636095"/>
              <a:gd name="connsiteX8" fmla="*/ 34465 w 3281698"/>
              <a:gd name="connsiteY8" fmla="*/ 1442468 h 3636095"/>
              <a:gd name="connsiteX0" fmla="*/ 34461 w 3241977"/>
              <a:gd name="connsiteY0" fmla="*/ 1442468 h 3636095"/>
              <a:gd name="connsiteX1" fmla="*/ 333829 w 3241977"/>
              <a:gd name="connsiteY1" fmla="*/ 3211159 h 3636095"/>
              <a:gd name="connsiteX2" fmla="*/ 1044790 w 3241977"/>
              <a:gd name="connsiteY2" fmla="*/ 3623216 h 3636095"/>
              <a:gd name="connsiteX3" fmla="*/ 2000020 w 3241977"/>
              <a:gd name="connsiteY3" fmla="*/ 3133878 h 3636095"/>
              <a:gd name="connsiteX4" fmla="*/ 2787373 w 3241977"/>
              <a:gd name="connsiteY4" fmla="*/ 2454732 h 3636095"/>
              <a:gd name="connsiteX5" fmla="*/ 3241976 w 3241977"/>
              <a:gd name="connsiteY5" fmla="*/ 2053961 h 3636095"/>
              <a:gd name="connsiteX6" fmla="*/ 3092817 w 3241977"/>
              <a:gd name="connsiteY6" fmla="*/ 0 h 3636095"/>
              <a:gd name="connsiteX7" fmla="*/ 41961 w 3241977"/>
              <a:gd name="connsiteY7" fmla="*/ 8601 h 3636095"/>
              <a:gd name="connsiteX8" fmla="*/ 34461 w 3241977"/>
              <a:gd name="connsiteY8" fmla="*/ 1442468 h 3636095"/>
              <a:gd name="connsiteX0" fmla="*/ 34465 w 3256523"/>
              <a:gd name="connsiteY0" fmla="*/ 1442468 h 3636095"/>
              <a:gd name="connsiteX1" fmla="*/ 333833 w 3256523"/>
              <a:gd name="connsiteY1" fmla="*/ 3211159 h 3636095"/>
              <a:gd name="connsiteX2" fmla="*/ 1044794 w 3256523"/>
              <a:gd name="connsiteY2" fmla="*/ 3623216 h 3636095"/>
              <a:gd name="connsiteX3" fmla="*/ 2000024 w 3256523"/>
              <a:gd name="connsiteY3" fmla="*/ 3133878 h 3636095"/>
              <a:gd name="connsiteX4" fmla="*/ 2787377 w 3256523"/>
              <a:gd name="connsiteY4" fmla="*/ 2454732 h 3636095"/>
              <a:gd name="connsiteX5" fmla="*/ 3241980 w 3256523"/>
              <a:gd name="connsiteY5" fmla="*/ 2053961 h 3636095"/>
              <a:gd name="connsiteX6" fmla="*/ 3092821 w 3256523"/>
              <a:gd name="connsiteY6" fmla="*/ 0 h 3636095"/>
              <a:gd name="connsiteX7" fmla="*/ 41965 w 3256523"/>
              <a:gd name="connsiteY7" fmla="*/ 8601 h 3636095"/>
              <a:gd name="connsiteX8" fmla="*/ 34465 w 3256523"/>
              <a:gd name="connsiteY8" fmla="*/ 1442468 h 3636095"/>
              <a:gd name="connsiteX0" fmla="*/ 34461 w 3093285"/>
              <a:gd name="connsiteY0" fmla="*/ 1442468 h 3636095"/>
              <a:gd name="connsiteX1" fmla="*/ 333829 w 3093285"/>
              <a:gd name="connsiteY1" fmla="*/ 3211159 h 3636095"/>
              <a:gd name="connsiteX2" fmla="*/ 1044790 w 3093285"/>
              <a:gd name="connsiteY2" fmla="*/ 3623216 h 3636095"/>
              <a:gd name="connsiteX3" fmla="*/ 2000020 w 3093285"/>
              <a:gd name="connsiteY3" fmla="*/ 3133878 h 3636095"/>
              <a:gd name="connsiteX4" fmla="*/ 2787373 w 3093285"/>
              <a:gd name="connsiteY4" fmla="*/ 2454732 h 3636095"/>
              <a:gd name="connsiteX5" fmla="*/ 3053164 w 3093285"/>
              <a:gd name="connsiteY5" fmla="*/ 2053961 h 3636095"/>
              <a:gd name="connsiteX6" fmla="*/ 3092817 w 3093285"/>
              <a:gd name="connsiteY6" fmla="*/ 0 h 3636095"/>
              <a:gd name="connsiteX7" fmla="*/ 41961 w 3093285"/>
              <a:gd name="connsiteY7" fmla="*/ 8601 h 3636095"/>
              <a:gd name="connsiteX8" fmla="*/ 34461 w 3093285"/>
              <a:gd name="connsiteY8" fmla="*/ 1442468 h 3636095"/>
              <a:gd name="connsiteX0" fmla="*/ 34465 w 3395390"/>
              <a:gd name="connsiteY0" fmla="*/ 1442468 h 3636095"/>
              <a:gd name="connsiteX1" fmla="*/ 333833 w 3395390"/>
              <a:gd name="connsiteY1" fmla="*/ 3211159 h 3636095"/>
              <a:gd name="connsiteX2" fmla="*/ 1044794 w 3395390"/>
              <a:gd name="connsiteY2" fmla="*/ 3623216 h 3636095"/>
              <a:gd name="connsiteX3" fmla="*/ 2000024 w 3395390"/>
              <a:gd name="connsiteY3" fmla="*/ 3133878 h 3636095"/>
              <a:gd name="connsiteX4" fmla="*/ 2787377 w 3395390"/>
              <a:gd name="connsiteY4" fmla="*/ 2454732 h 3636095"/>
              <a:gd name="connsiteX5" fmla="*/ 3053168 w 3395390"/>
              <a:gd name="connsiteY5" fmla="*/ 2053961 h 3636095"/>
              <a:gd name="connsiteX6" fmla="*/ 3394922 w 3395390"/>
              <a:gd name="connsiteY6" fmla="*/ 0 h 3636095"/>
              <a:gd name="connsiteX7" fmla="*/ 41965 w 3395390"/>
              <a:gd name="connsiteY7" fmla="*/ 8601 h 3636095"/>
              <a:gd name="connsiteX8" fmla="*/ 34465 w 3395390"/>
              <a:gd name="connsiteY8" fmla="*/ 1442468 h 3636095"/>
              <a:gd name="connsiteX0" fmla="*/ 34461 w 3067705"/>
              <a:gd name="connsiteY0" fmla="*/ 1442468 h 3636095"/>
              <a:gd name="connsiteX1" fmla="*/ 333829 w 3067705"/>
              <a:gd name="connsiteY1" fmla="*/ 3211159 h 3636095"/>
              <a:gd name="connsiteX2" fmla="*/ 1044790 w 3067705"/>
              <a:gd name="connsiteY2" fmla="*/ 3623216 h 3636095"/>
              <a:gd name="connsiteX3" fmla="*/ 2000020 w 3067705"/>
              <a:gd name="connsiteY3" fmla="*/ 3133878 h 3636095"/>
              <a:gd name="connsiteX4" fmla="*/ 2787373 w 3067705"/>
              <a:gd name="connsiteY4" fmla="*/ 2454732 h 3636095"/>
              <a:gd name="connsiteX5" fmla="*/ 3053164 w 3067705"/>
              <a:gd name="connsiteY5" fmla="*/ 2053961 h 3636095"/>
              <a:gd name="connsiteX6" fmla="*/ 3042467 w 3067705"/>
              <a:gd name="connsiteY6" fmla="*/ 0 h 3636095"/>
              <a:gd name="connsiteX7" fmla="*/ 41961 w 3067705"/>
              <a:gd name="connsiteY7" fmla="*/ 8601 h 3636095"/>
              <a:gd name="connsiteX8" fmla="*/ 34461 w 3067705"/>
              <a:gd name="connsiteY8" fmla="*/ 1442468 h 3636095"/>
              <a:gd name="connsiteX0" fmla="*/ 34465 w 3067713"/>
              <a:gd name="connsiteY0" fmla="*/ 1442468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5 w 3067713"/>
              <a:gd name="connsiteY8" fmla="*/ 1442468 h 3636095"/>
              <a:gd name="connsiteX0" fmla="*/ 0 w 3297583"/>
              <a:gd name="connsiteY0" fmla="*/ 1442467 h 3636095"/>
              <a:gd name="connsiteX1" fmla="*/ 563707 w 3297583"/>
              <a:gd name="connsiteY1" fmla="*/ 3211159 h 3636095"/>
              <a:gd name="connsiteX2" fmla="*/ 1274668 w 3297583"/>
              <a:gd name="connsiteY2" fmla="*/ 3623216 h 3636095"/>
              <a:gd name="connsiteX3" fmla="*/ 2229898 w 3297583"/>
              <a:gd name="connsiteY3" fmla="*/ 3133878 h 3636095"/>
              <a:gd name="connsiteX4" fmla="*/ 3017251 w 3297583"/>
              <a:gd name="connsiteY4" fmla="*/ 2454732 h 3636095"/>
              <a:gd name="connsiteX5" fmla="*/ 3283042 w 3297583"/>
              <a:gd name="connsiteY5" fmla="*/ 2053961 h 3636095"/>
              <a:gd name="connsiteX6" fmla="*/ 3272345 w 3297583"/>
              <a:gd name="connsiteY6" fmla="*/ 0 h 3636095"/>
              <a:gd name="connsiteX7" fmla="*/ 271839 w 3297583"/>
              <a:gd name="connsiteY7" fmla="*/ 8601 h 3636095"/>
              <a:gd name="connsiteX8" fmla="*/ 0 w 3297583"/>
              <a:gd name="connsiteY8" fmla="*/ 1442467 h 3636095"/>
              <a:gd name="connsiteX0" fmla="*/ 34464 w 3067713"/>
              <a:gd name="connsiteY0" fmla="*/ 1442467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4 w 3067713"/>
              <a:gd name="connsiteY8" fmla="*/ 1442467 h 3636095"/>
              <a:gd name="connsiteX0" fmla="*/ 6086 w 3039331"/>
              <a:gd name="connsiteY0" fmla="*/ 1442467 h 3636095"/>
              <a:gd name="connsiteX1" fmla="*/ 305455 w 3039331"/>
              <a:gd name="connsiteY1" fmla="*/ 3211159 h 3636095"/>
              <a:gd name="connsiteX2" fmla="*/ 1016416 w 3039331"/>
              <a:gd name="connsiteY2" fmla="*/ 3623216 h 3636095"/>
              <a:gd name="connsiteX3" fmla="*/ 1971646 w 3039331"/>
              <a:gd name="connsiteY3" fmla="*/ 3133878 h 3636095"/>
              <a:gd name="connsiteX4" fmla="*/ 2758999 w 3039331"/>
              <a:gd name="connsiteY4" fmla="*/ 2454732 h 3636095"/>
              <a:gd name="connsiteX5" fmla="*/ 3024790 w 3039331"/>
              <a:gd name="connsiteY5" fmla="*/ 2053961 h 3636095"/>
              <a:gd name="connsiteX6" fmla="*/ 3014093 w 3039331"/>
              <a:gd name="connsiteY6" fmla="*/ 0 h 3636095"/>
              <a:gd name="connsiteX7" fmla="*/ 240163 w 3039331"/>
              <a:gd name="connsiteY7" fmla="*/ 8601 h 3636095"/>
              <a:gd name="connsiteX8" fmla="*/ 6086 w 3039331"/>
              <a:gd name="connsiteY8" fmla="*/ 1442467 h 3636095"/>
              <a:gd name="connsiteX0" fmla="*/ 6086 w 3039335"/>
              <a:gd name="connsiteY0" fmla="*/ 1442467 h 3636095"/>
              <a:gd name="connsiteX1" fmla="*/ 305455 w 3039335"/>
              <a:gd name="connsiteY1" fmla="*/ 3211159 h 3636095"/>
              <a:gd name="connsiteX2" fmla="*/ 1016416 w 3039335"/>
              <a:gd name="connsiteY2" fmla="*/ 3623216 h 3636095"/>
              <a:gd name="connsiteX3" fmla="*/ 1971646 w 3039335"/>
              <a:gd name="connsiteY3" fmla="*/ 3133878 h 3636095"/>
              <a:gd name="connsiteX4" fmla="*/ 2758999 w 3039335"/>
              <a:gd name="connsiteY4" fmla="*/ 2454732 h 3636095"/>
              <a:gd name="connsiteX5" fmla="*/ 3024790 w 3039335"/>
              <a:gd name="connsiteY5" fmla="*/ 2053961 h 3636095"/>
              <a:gd name="connsiteX6" fmla="*/ 3014093 w 3039335"/>
              <a:gd name="connsiteY6" fmla="*/ 0 h 3636095"/>
              <a:gd name="connsiteX7" fmla="*/ 63937 w 3039335"/>
              <a:gd name="connsiteY7" fmla="*/ 8601 h 3636095"/>
              <a:gd name="connsiteX8" fmla="*/ 6086 w 3039335"/>
              <a:gd name="connsiteY8" fmla="*/ 1442467 h 3636095"/>
              <a:gd name="connsiteX0" fmla="*/ 63937 w 3039331"/>
              <a:gd name="connsiteY0" fmla="*/ 8601 h 3636095"/>
              <a:gd name="connsiteX1" fmla="*/ 6086 w 3039331"/>
              <a:gd name="connsiteY1" fmla="*/ 1442467 h 3636095"/>
              <a:gd name="connsiteX2" fmla="*/ 305455 w 3039331"/>
              <a:gd name="connsiteY2" fmla="*/ 3211159 h 3636095"/>
              <a:gd name="connsiteX3" fmla="*/ 1016416 w 3039331"/>
              <a:gd name="connsiteY3" fmla="*/ 3623216 h 3636095"/>
              <a:gd name="connsiteX4" fmla="*/ 1971646 w 3039331"/>
              <a:gd name="connsiteY4" fmla="*/ 3133878 h 3636095"/>
              <a:gd name="connsiteX5" fmla="*/ 2758999 w 3039331"/>
              <a:gd name="connsiteY5" fmla="*/ 2454732 h 3636095"/>
              <a:gd name="connsiteX6" fmla="*/ 3024790 w 3039331"/>
              <a:gd name="connsiteY6" fmla="*/ 2053961 h 3636095"/>
              <a:gd name="connsiteX7" fmla="*/ 3014093 w 3039331"/>
              <a:gd name="connsiteY7" fmla="*/ 0 h 3636095"/>
              <a:gd name="connsiteX8" fmla="*/ 426458 w 3039331"/>
              <a:gd name="connsiteY8" fmla="*/ 521973 h 3636095"/>
              <a:gd name="connsiteX0" fmla="*/ 63937 w 3039335"/>
              <a:gd name="connsiteY0" fmla="*/ 8601 h 3636095"/>
              <a:gd name="connsiteX1" fmla="*/ 6086 w 3039335"/>
              <a:gd name="connsiteY1" fmla="*/ 1442467 h 3636095"/>
              <a:gd name="connsiteX2" fmla="*/ 305455 w 3039335"/>
              <a:gd name="connsiteY2" fmla="*/ 3211159 h 3636095"/>
              <a:gd name="connsiteX3" fmla="*/ 1016416 w 3039335"/>
              <a:gd name="connsiteY3" fmla="*/ 3623216 h 3636095"/>
              <a:gd name="connsiteX4" fmla="*/ 1971646 w 3039335"/>
              <a:gd name="connsiteY4" fmla="*/ 3133878 h 3636095"/>
              <a:gd name="connsiteX5" fmla="*/ 2758999 w 3039335"/>
              <a:gd name="connsiteY5" fmla="*/ 2454732 h 3636095"/>
              <a:gd name="connsiteX6" fmla="*/ 3024790 w 3039335"/>
              <a:gd name="connsiteY6" fmla="*/ 2053961 h 3636095"/>
              <a:gd name="connsiteX7" fmla="*/ 3014093 w 3039335"/>
              <a:gd name="connsiteY7" fmla="*/ 0 h 3636095"/>
              <a:gd name="connsiteX0" fmla="*/ 63937 w 3039331"/>
              <a:gd name="connsiteY0" fmla="*/ 8601 h 3636095"/>
              <a:gd name="connsiteX1" fmla="*/ 6086 w 3039331"/>
              <a:gd name="connsiteY1" fmla="*/ 1442467 h 3636095"/>
              <a:gd name="connsiteX2" fmla="*/ 305455 w 3039331"/>
              <a:gd name="connsiteY2" fmla="*/ 3211159 h 3636095"/>
              <a:gd name="connsiteX3" fmla="*/ 1016416 w 3039331"/>
              <a:gd name="connsiteY3" fmla="*/ 3623216 h 3636095"/>
              <a:gd name="connsiteX4" fmla="*/ 1971646 w 3039331"/>
              <a:gd name="connsiteY4" fmla="*/ 3133878 h 3636095"/>
              <a:gd name="connsiteX5" fmla="*/ 2758999 w 3039331"/>
              <a:gd name="connsiteY5" fmla="*/ 2454732 h 3636095"/>
              <a:gd name="connsiteX6" fmla="*/ 3024790 w 3039331"/>
              <a:gd name="connsiteY6" fmla="*/ 2053961 h 3636095"/>
              <a:gd name="connsiteX7" fmla="*/ 3014093 w 3039331"/>
              <a:gd name="connsiteY7" fmla="*/ 0 h 3636095"/>
              <a:gd name="connsiteX0" fmla="*/ 63937 w 3039335"/>
              <a:gd name="connsiteY0" fmla="*/ 1 h 3627495"/>
              <a:gd name="connsiteX1" fmla="*/ 6086 w 3039335"/>
              <a:gd name="connsiteY1" fmla="*/ 1433867 h 3627495"/>
              <a:gd name="connsiteX2" fmla="*/ 305455 w 3039335"/>
              <a:gd name="connsiteY2" fmla="*/ 3202559 h 3627495"/>
              <a:gd name="connsiteX3" fmla="*/ 1016416 w 3039335"/>
              <a:gd name="connsiteY3" fmla="*/ 3614616 h 3627495"/>
              <a:gd name="connsiteX4" fmla="*/ 1971646 w 3039335"/>
              <a:gd name="connsiteY4" fmla="*/ 3125278 h 3627495"/>
              <a:gd name="connsiteX5" fmla="*/ 2758999 w 3039335"/>
              <a:gd name="connsiteY5" fmla="*/ 2446132 h 3627495"/>
              <a:gd name="connsiteX6" fmla="*/ 3024790 w 3039335"/>
              <a:gd name="connsiteY6" fmla="*/ 2045361 h 3627495"/>
              <a:gd name="connsiteX7" fmla="*/ 2069077 w 3039335"/>
              <a:gd name="connsiteY7" fmla="*/ 234719 h 3627495"/>
              <a:gd name="connsiteX0" fmla="*/ 63937 w 3039331"/>
              <a:gd name="connsiteY0" fmla="*/ 25981 h 3653475"/>
              <a:gd name="connsiteX1" fmla="*/ 6086 w 3039331"/>
              <a:gd name="connsiteY1" fmla="*/ 1459847 h 3653475"/>
              <a:gd name="connsiteX2" fmla="*/ 305455 w 3039331"/>
              <a:gd name="connsiteY2" fmla="*/ 3228539 h 3653475"/>
              <a:gd name="connsiteX3" fmla="*/ 1016416 w 3039331"/>
              <a:gd name="connsiteY3" fmla="*/ 3640596 h 3653475"/>
              <a:gd name="connsiteX4" fmla="*/ 1971646 w 3039331"/>
              <a:gd name="connsiteY4" fmla="*/ 3151258 h 3653475"/>
              <a:gd name="connsiteX5" fmla="*/ 2758999 w 3039331"/>
              <a:gd name="connsiteY5" fmla="*/ 2472112 h 3653475"/>
              <a:gd name="connsiteX6" fmla="*/ 3024790 w 3039331"/>
              <a:gd name="connsiteY6" fmla="*/ 2071341 h 3653475"/>
              <a:gd name="connsiteX7" fmla="*/ 2940456 w 3039331"/>
              <a:gd name="connsiteY7" fmla="*/ 0 h 3653475"/>
              <a:gd name="connsiteX0" fmla="*/ 63937 w 2940923"/>
              <a:gd name="connsiteY0" fmla="*/ 25981 h 3653475"/>
              <a:gd name="connsiteX1" fmla="*/ 6086 w 2940923"/>
              <a:gd name="connsiteY1" fmla="*/ 1459847 h 3653475"/>
              <a:gd name="connsiteX2" fmla="*/ 305455 w 2940923"/>
              <a:gd name="connsiteY2" fmla="*/ 3228539 h 3653475"/>
              <a:gd name="connsiteX3" fmla="*/ 1016416 w 2940923"/>
              <a:gd name="connsiteY3" fmla="*/ 3640596 h 3653475"/>
              <a:gd name="connsiteX4" fmla="*/ 1971646 w 2940923"/>
              <a:gd name="connsiteY4" fmla="*/ 3151258 h 3653475"/>
              <a:gd name="connsiteX5" fmla="*/ 2758999 w 2940923"/>
              <a:gd name="connsiteY5" fmla="*/ 2472112 h 3653475"/>
              <a:gd name="connsiteX6" fmla="*/ 2374324 w 2940923"/>
              <a:gd name="connsiteY6" fmla="*/ 2071340 h 3653475"/>
              <a:gd name="connsiteX7" fmla="*/ 2940456 w 2940923"/>
              <a:gd name="connsiteY7" fmla="*/ 0 h 3653475"/>
              <a:gd name="connsiteX0" fmla="*/ 63937 w 2953420"/>
              <a:gd name="connsiteY0" fmla="*/ 25981 h 3653475"/>
              <a:gd name="connsiteX1" fmla="*/ 6086 w 2953420"/>
              <a:gd name="connsiteY1" fmla="*/ 1459847 h 3653475"/>
              <a:gd name="connsiteX2" fmla="*/ 305455 w 2953420"/>
              <a:gd name="connsiteY2" fmla="*/ 3228539 h 3653475"/>
              <a:gd name="connsiteX3" fmla="*/ 1016416 w 2953420"/>
              <a:gd name="connsiteY3" fmla="*/ 3640596 h 3653475"/>
              <a:gd name="connsiteX4" fmla="*/ 1971646 w 2953420"/>
              <a:gd name="connsiteY4" fmla="*/ 3151258 h 3653475"/>
              <a:gd name="connsiteX5" fmla="*/ 2758999 w 2953420"/>
              <a:gd name="connsiteY5" fmla="*/ 2472112 h 3653475"/>
              <a:gd name="connsiteX6" fmla="*/ 2938878 w 2953420"/>
              <a:gd name="connsiteY6" fmla="*/ 2071340 h 3653475"/>
              <a:gd name="connsiteX7" fmla="*/ 2940456 w 2953420"/>
              <a:gd name="connsiteY7" fmla="*/ 0 h 3653475"/>
              <a:gd name="connsiteX0" fmla="*/ 63937 w 2953420"/>
              <a:gd name="connsiteY0" fmla="*/ 25981 h 3653475"/>
              <a:gd name="connsiteX1" fmla="*/ 6086 w 2953420"/>
              <a:gd name="connsiteY1" fmla="*/ 1459847 h 3653475"/>
              <a:gd name="connsiteX2" fmla="*/ 305455 w 2953420"/>
              <a:gd name="connsiteY2" fmla="*/ 3228539 h 3653475"/>
              <a:gd name="connsiteX3" fmla="*/ 1016416 w 2953420"/>
              <a:gd name="connsiteY3" fmla="*/ 3640596 h 3653475"/>
              <a:gd name="connsiteX4" fmla="*/ 1971646 w 2953420"/>
              <a:gd name="connsiteY4" fmla="*/ 3151258 h 3653475"/>
              <a:gd name="connsiteX5" fmla="*/ 2758999 w 2953420"/>
              <a:gd name="connsiteY5" fmla="*/ 2472112 h 3653475"/>
              <a:gd name="connsiteX6" fmla="*/ 2938878 w 2953420"/>
              <a:gd name="connsiteY6" fmla="*/ 2071340 h 3653475"/>
              <a:gd name="connsiteX7" fmla="*/ 2940456 w 2953420"/>
              <a:gd name="connsiteY7" fmla="*/ 0 h 3653475"/>
              <a:gd name="connsiteX8" fmla="*/ 63937 w 2953420"/>
              <a:gd name="connsiteY8" fmla="*/ 25981 h 365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3420" h="3653475">
                <a:moveTo>
                  <a:pt x="63937" y="25981"/>
                </a:moveTo>
                <a:cubicBezTo>
                  <a:pt x="21974" y="613256"/>
                  <a:pt x="8477" y="1000152"/>
                  <a:pt x="6086" y="1459847"/>
                </a:cubicBezTo>
                <a:cubicBezTo>
                  <a:pt x="9974" y="1932206"/>
                  <a:pt x="-1" y="2718517"/>
                  <a:pt x="305455" y="3228539"/>
                </a:cubicBezTo>
                <a:cubicBezTo>
                  <a:pt x="476641" y="3572191"/>
                  <a:pt x="738718" y="3653476"/>
                  <a:pt x="1016416" y="3640596"/>
                </a:cubicBezTo>
                <a:cubicBezTo>
                  <a:pt x="1294115" y="3627716"/>
                  <a:pt x="1681216" y="3346005"/>
                  <a:pt x="1971646" y="3151258"/>
                </a:cubicBezTo>
                <a:cubicBezTo>
                  <a:pt x="2262076" y="2956511"/>
                  <a:pt x="2597794" y="2652098"/>
                  <a:pt x="2758999" y="2472112"/>
                </a:cubicBezTo>
                <a:cubicBezTo>
                  <a:pt x="2920204" y="2292126"/>
                  <a:pt x="2865335" y="2260020"/>
                  <a:pt x="2938878" y="2071340"/>
                </a:cubicBezTo>
                <a:cubicBezTo>
                  <a:pt x="2953421" y="1509712"/>
                  <a:pt x="2940924" y="1143039"/>
                  <a:pt x="2940456" y="0"/>
                </a:cubicBezTo>
                <a:lnTo>
                  <a:pt x="63937" y="25981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pic>
        <p:nvPicPr>
          <p:cNvPr id="11" name="Picture 10" descr="AS_logo_®_RGB22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9836" y="5985965"/>
            <a:ext cx="1705503" cy="395583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auto">
          <a:xfrm>
            <a:off x="2776843" y="-8372"/>
            <a:ext cx="1923757" cy="3666875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77131 h 4590722"/>
              <a:gd name="connsiteX1" fmla="*/ 419791 w 2410332"/>
              <a:gd name="connsiteY1" fmla="*/ 4549054 h 4590722"/>
              <a:gd name="connsiteX2" fmla="*/ 870437 w 2410332"/>
              <a:gd name="connsiteY2" fmla="*/ 4527137 h 4590722"/>
              <a:gd name="connsiteX3" fmla="*/ 1446263 w 2410332"/>
              <a:gd name="connsiteY3" fmla="*/ 4253411 h 4590722"/>
              <a:gd name="connsiteX4" fmla="*/ 1837275 w 2410332"/>
              <a:gd name="connsiteY4" fmla="*/ 3942732 h 4590722"/>
              <a:gd name="connsiteX5" fmla="*/ 2115856 w 2410332"/>
              <a:gd name="connsiteY5" fmla="*/ 3477487 h 4590722"/>
              <a:gd name="connsiteX6" fmla="*/ 2264450 w 2410332"/>
              <a:gd name="connsiteY6" fmla="*/ 2975893 h 4590722"/>
              <a:gd name="connsiteX7" fmla="*/ 2388031 w 2410332"/>
              <a:gd name="connsiteY7" fmla="*/ 2159250 h 4590722"/>
              <a:gd name="connsiteX8" fmla="*/ 2398257 w 2410332"/>
              <a:gd name="connsiteY8" fmla="*/ 1435506 h 4590722"/>
              <a:gd name="connsiteX9" fmla="*/ 2374355 w 2410332"/>
              <a:gd name="connsiteY9" fmla="*/ 739054 h 4590722"/>
              <a:gd name="connsiteX10" fmla="*/ 2236174 w 2410332"/>
              <a:gd name="connsiteY10" fmla="*/ 65337 h 4590722"/>
              <a:gd name="connsiteX11" fmla="*/ 547441 w 2410332"/>
              <a:gd name="connsiteY11" fmla="*/ 0 h 4590722"/>
              <a:gd name="connsiteX12" fmla="*/ 197828 w 2410332"/>
              <a:gd name="connsiteY12" fmla="*/ 863552 h 4590722"/>
              <a:gd name="connsiteX13" fmla="*/ 51703 w 2410332"/>
              <a:gd name="connsiteY13" fmla="*/ 2465226 h 4590722"/>
              <a:gd name="connsiteX14" fmla="*/ 173473 w 2410332"/>
              <a:gd name="connsiteY14" fmla="*/ 4277131 h 4590722"/>
              <a:gd name="connsiteX0" fmla="*/ 173473 w 2410332"/>
              <a:gd name="connsiteY0" fmla="*/ 4222149 h 4535740"/>
              <a:gd name="connsiteX1" fmla="*/ 419791 w 2410332"/>
              <a:gd name="connsiteY1" fmla="*/ 4494072 h 4535740"/>
              <a:gd name="connsiteX2" fmla="*/ 870437 w 2410332"/>
              <a:gd name="connsiteY2" fmla="*/ 4472155 h 4535740"/>
              <a:gd name="connsiteX3" fmla="*/ 1446263 w 2410332"/>
              <a:gd name="connsiteY3" fmla="*/ 4198429 h 4535740"/>
              <a:gd name="connsiteX4" fmla="*/ 1837275 w 2410332"/>
              <a:gd name="connsiteY4" fmla="*/ 3887750 h 4535740"/>
              <a:gd name="connsiteX5" fmla="*/ 2115856 w 2410332"/>
              <a:gd name="connsiteY5" fmla="*/ 3422505 h 4535740"/>
              <a:gd name="connsiteX6" fmla="*/ 2264450 w 2410332"/>
              <a:gd name="connsiteY6" fmla="*/ 2920911 h 4535740"/>
              <a:gd name="connsiteX7" fmla="*/ 2388031 w 2410332"/>
              <a:gd name="connsiteY7" fmla="*/ 2104268 h 4535740"/>
              <a:gd name="connsiteX8" fmla="*/ 2398257 w 2410332"/>
              <a:gd name="connsiteY8" fmla="*/ 1380524 h 4535740"/>
              <a:gd name="connsiteX9" fmla="*/ 2374355 w 2410332"/>
              <a:gd name="connsiteY9" fmla="*/ 684072 h 4535740"/>
              <a:gd name="connsiteX10" fmla="*/ 2236174 w 2410332"/>
              <a:gd name="connsiteY10" fmla="*/ 10355 h 4535740"/>
              <a:gd name="connsiteX11" fmla="*/ 547441 w 2410332"/>
              <a:gd name="connsiteY11" fmla="*/ 0 h 4535740"/>
              <a:gd name="connsiteX12" fmla="*/ 197828 w 2410332"/>
              <a:gd name="connsiteY12" fmla="*/ 808570 h 4535740"/>
              <a:gd name="connsiteX13" fmla="*/ 51703 w 2410332"/>
              <a:gd name="connsiteY13" fmla="*/ 2410244 h 4535740"/>
              <a:gd name="connsiteX14" fmla="*/ 173473 w 2410332"/>
              <a:gd name="connsiteY14" fmla="*/ 4222149 h 4535740"/>
              <a:gd name="connsiteX0" fmla="*/ 131582 w 2368441"/>
              <a:gd name="connsiteY0" fmla="*/ 4222149 h 4535740"/>
              <a:gd name="connsiteX1" fmla="*/ 377900 w 2368441"/>
              <a:gd name="connsiteY1" fmla="*/ 4494072 h 4535740"/>
              <a:gd name="connsiteX2" fmla="*/ 828546 w 2368441"/>
              <a:gd name="connsiteY2" fmla="*/ 4472155 h 4535740"/>
              <a:gd name="connsiteX3" fmla="*/ 1404372 w 2368441"/>
              <a:gd name="connsiteY3" fmla="*/ 4198429 h 4535740"/>
              <a:gd name="connsiteX4" fmla="*/ 1795384 w 2368441"/>
              <a:gd name="connsiteY4" fmla="*/ 3887750 h 4535740"/>
              <a:gd name="connsiteX5" fmla="*/ 2073965 w 2368441"/>
              <a:gd name="connsiteY5" fmla="*/ 3422505 h 4535740"/>
              <a:gd name="connsiteX6" fmla="*/ 2222559 w 2368441"/>
              <a:gd name="connsiteY6" fmla="*/ 2920911 h 4535740"/>
              <a:gd name="connsiteX7" fmla="*/ 2346140 w 2368441"/>
              <a:gd name="connsiteY7" fmla="*/ 2104268 h 4535740"/>
              <a:gd name="connsiteX8" fmla="*/ 2356366 w 2368441"/>
              <a:gd name="connsiteY8" fmla="*/ 1380524 h 4535740"/>
              <a:gd name="connsiteX9" fmla="*/ 2332464 w 2368441"/>
              <a:gd name="connsiteY9" fmla="*/ 684072 h 4535740"/>
              <a:gd name="connsiteX10" fmla="*/ 2194283 w 2368441"/>
              <a:gd name="connsiteY10" fmla="*/ 10355 h 4535740"/>
              <a:gd name="connsiteX11" fmla="*/ 505550 w 2368441"/>
              <a:gd name="connsiteY11" fmla="*/ 0 h 4535740"/>
              <a:gd name="connsiteX12" fmla="*/ 155937 w 2368441"/>
              <a:gd name="connsiteY12" fmla="*/ 808570 h 4535740"/>
              <a:gd name="connsiteX13" fmla="*/ 9812 w 2368441"/>
              <a:gd name="connsiteY13" fmla="*/ 2410244 h 4535740"/>
              <a:gd name="connsiteX14" fmla="*/ 131582 w 2368441"/>
              <a:gd name="connsiteY14" fmla="*/ 4222149 h 4535740"/>
              <a:gd name="connsiteX0" fmla="*/ 131582 w 2547156"/>
              <a:gd name="connsiteY0" fmla="*/ 4222149 h 4535740"/>
              <a:gd name="connsiteX1" fmla="*/ 377900 w 2547156"/>
              <a:gd name="connsiteY1" fmla="*/ 4494072 h 4535740"/>
              <a:gd name="connsiteX2" fmla="*/ 828546 w 2547156"/>
              <a:gd name="connsiteY2" fmla="*/ 4472155 h 4535740"/>
              <a:gd name="connsiteX3" fmla="*/ 1404372 w 2547156"/>
              <a:gd name="connsiteY3" fmla="*/ 4198429 h 4535740"/>
              <a:gd name="connsiteX4" fmla="*/ 1795384 w 2547156"/>
              <a:gd name="connsiteY4" fmla="*/ 3887750 h 4535740"/>
              <a:gd name="connsiteX5" fmla="*/ 2073965 w 2547156"/>
              <a:gd name="connsiteY5" fmla="*/ 3422505 h 4535740"/>
              <a:gd name="connsiteX6" fmla="*/ 2222559 w 2547156"/>
              <a:gd name="connsiteY6" fmla="*/ 2920911 h 4535740"/>
              <a:gd name="connsiteX7" fmla="*/ 2346140 w 2547156"/>
              <a:gd name="connsiteY7" fmla="*/ 2104268 h 4535740"/>
              <a:gd name="connsiteX8" fmla="*/ 2544877 w 2547156"/>
              <a:gd name="connsiteY8" fmla="*/ 1380524 h 4535740"/>
              <a:gd name="connsiteX9" fmla="*/ 2332464 w 2547156"/>
              <a:gd name="connsiteY9" fmla="*/ 684072 h 4535740"/>
              <a:gd name="connsiteX10" fmla="*/ 2194283 w 2547156"/>
              <a:gd name="connsiteY10" fmla="*/ 10355 h 4535740"/>
              <a:gd name="connsiteX11" fmla="*/ 505550 w 2547156"/>
              <a:gd name="connsiteY11" fmla="*/ 0 h 4535740"/>
              <a:gd name="connsiteX12" fmla="*/ 155937 w 2547156"/>
              <a:gd name="connsiteY12" fmla="*/ 808570 h 4535740"/>
              <a:gd name="connsiteX13" fmla="*/ 9812 w 2547156"/>
              <a:gd name="connsiteY13" fmla="*/ 2410244 h 4535740"/>
              <a:gd name="connsiteX14" fmla="*/ 131582 w 2547156"/>
              <a:gd name="connsiteY14" fmla="*/ 4222149 h 4535740"/>
              <a:gd name="connsiteX0" fmla="*/ 131582 w 2379591"/>
              <a:gd name="connsiteY0" fmla="*/ 4222149 h 4535740"/>
              <a:gd name="connsiteX1" fmla="*/ 377900 w 2379591"/>
              <a:gd name="connsiteY1" fmla="*/ 4494072 h 4535740"/>
              <a:gd name="connsiteX2" fmla="*/ 828546 w 2379591"/>
              <a:gd name="connsiteY2" fmla="*/ 4472155 h 4535740"/>
              <a:gd name="connsiteX3" fmla="*/ 1404372 w 2379591"/>
              <a:gd name="connsiteY3" fmla="*/ 4198429 h 4535740"/>
              <a:gd name="connsiteX4" fmla="*/ 1795384 w 2379591"/>
              <a:gd name="connsiteY4" fmla="*/ 3887750 h 4535740"/>
              <a:gd name="connsiteX5" fmla="*/ 2073965 w 2379591"/>
              <a:gd name="connsiteY5" fmla="*/ 3422505 h 4535740"/>
              <a:gd name="connsiteX6" fmla="*/ 2222559 w 2379591"/>
              <a:gd name="connsiteY6" fmla="*/ 2920911 h 4535740"/>
              <a:gd name="connsiteX7" fmla="*/ 2346140 w 2379591"/>
              <a:gd name="connsiteY7" fmla="*/ 2104268 h 4535740"/>
              <a:gd name="connsiteX8" fmla="*/ 2377312 w 2379591"/>
              <a:gd name="connsiteY8" fmla="*/ 1380524 h 4535740"/>
              <a:gd name="connsiteX9" fmla="*/ 2332464 w 2379591"/>
              <a:gd name="connsiteY9" fmla="*/ 684072 h 4535740"/>
              <a:gd name="connsiteX10" fmla="*/ 2194283 w 2379591"/>
              <a:gd name="connsiteY10" fmla="*/ 10355 h 4535740"/>
              <a:gd name="connsiteX11" fmla="*/ 505550 w 2379591"/>
              <a:gd name="connsiteY11" fmla="*/ 0 h 4535740"/>
              <a:gd name="connsiteX12" fmla="*/ 155937 w 2379591"/>
              <a:gd name="connsiteY12" fmla="*/ 808570 h 4535740"/>
              <a:gd name="connsiteX13" fmla="*/ 9812 w 2379591"/>
              <a:gd name="connsiteY13" fmla="*/ 2410244 h 4535740"/>
              <a:gd name="connsiteX14" fmla="*/ 131582 w 2379591"/>
              <a:gd name="connsiteY14" fmla="*/ 4222149 h 4535740"/>
              <a:gd name="connsiteX0" fmla="*/ 505550 w 2379591"/>
              <a:gd name="connsiteY0" fmla="*/ 0 h 4535740"/>
              <a:gd name="connsiteX1" fmla="*/ 155937 w 2379591"/>
              <a:gd name="connsiteY1" fmla="*/ 808570 h 4535740"/>
              <a:gd name="connsiteX2" fmla="*/ 9812 w 2379591"/>
              <a:gd name="connsiteY2" fmla="*/ 2410244 h 4535740"/>
              <a:gd name="connsiteX3" fmla="*/ 131582 w 2379591"/>
              <a:gd name="connsiteY3" fmla="*/ 4222149 h 4535740"/>
              <a:gd name="connsiteX4" fmla="*/ 377900 w 2379591"/>
              <a:gd name="connsiteY4" fmla="*/ 4494072 h 4535740"/>
              <a:gd name="connsiteX5" fmla="*/ 828546 w 2379591"/>
              <a:gd name="connsiteY5" fmla="*/ 4472155 h 4535740"/>
              <a:gd name="connsiteX6" fmla="*/ 1404372 w 2379591"/>
              <a:gd name="connsiteY6" fmla="*/ 4198429 h 4535740"/>
              <a:gd name="connsiteX7" fmla="*/ 1795384 w 2379591"/>
              <a:gd name="connsiteY7" fmla="*/ 3887750 h 4535740"/>
              <a:gd name="connsiteX8" fmla="*/ 2073965 w 2379591"/>
              <a:gd name="connsiteY8" fmla="*/ 3422505 h 4535740"/>
              <a:gd name="connsiteX9" fmla="*/ 2222559 w 2379591"/>
              <a:gd name="connsiteY9" fmla="*/ 2920911 h 4535740"/>
              <a:gd name="connsiteX10" fmla="*/ 2346140 w 2379591"/>
              <a:gd name="connsiteY10" fmla="*/ 2104268 h 4535740"/>
              <a:gd name="connsiteX11" fmla="*/ 2377312 w 2379591"/>
              <a:gd name="connsiteY11" fmla="*/ 1380524 h 4535740"/>
              <a:gd name="connsiteX12" fmla="*/ 2332464 w 2379591"/>
              <a:gd name="connsiteY12" fmla="*/ 684072 h 4535740"/>
              <a:gd name="connsiteX13" fmla="*/ 2194283 w 2379591"/>
              <a:gd name="connsiteY13" fmla="*/ 10355 h 4535740"/>
              <a:gd name="connsiteX14" fmla="*/ 618657 w 2379591"/>
              <a:gd name="connsiteY14" fmla="*/ 113107 h 4535740"/>
              <a:gd name="connsiteX0" fmla="*/ 505550 w 2379591"/>
              <a:gd name="connsiteY0" fmla="*/ 0 h 4535740"/>
              <a:gd name="connsiteX1" fmla="*/ 155937 w 2379591"/>
              <a:gd name="connsiteY1" fmla="*/ 808570 h 4535740"/>
              <a:gd name="connsiteX2" fmla="*/ 9812 w 2379591"/>
              <a:gd name="connsiteY2" fmla="*/ 2410244 h 4535740"/>
              <a:gd name="connsiteX3" fmla="*/ 131582 w 2379591"/>
              <a:gd name="connsiteY3" fmla="*/ 4222149 h 4535740"/>
              <a:gd name="connsiteX4" fmla="*/ 377900 w 2379591"/>
              <a:gd name="connsiteY4" fmla="*/ 4494072 h 4535740"/>
              <a:gd name="connsiteX5" fmla="*/ 828546 w 2379591"/>
              <a:gd name="connsiteY5" fmla="*/ 4472155 h 4535740"/>
              <a:gd name="connsiteX6" fmla="*/ 1404372 w 2379591"/>
              <a:gd name="connsiteY6" fmla="*/ 4198429 h 4535740"/>
              <a:gd name="connsiteX7" fmla="*/ 1795384 w 2379591"/>
              <a:gd name="connsiteY7" fmla="*/ 3887750 h 4535740"/>
              <a:gd name="connsiteX8" fmla="*/ 2073965 w 2379591"/>
              <a:gd name="connsiteY8" fmla="*/ 3422505 h 4535740"/>
              <a:gd name="connsiteX9" fmla="*/ 2222559 w 2379591"/>
              <a:gd name="connsiteY9" fmla="*/ 2920911 h 4535740"/>
              <a:gd name="connsiteX10" fmla="*/ 2346140 w 2379591"/>
              <a:gd name="connsiteY10" fmla="*/ 2104268 h 4535740"/>
              <a:gd name="connsiteX11" fmla="*/ 2377312 w 2379591"/>
              <a:gd name="connsiteY11" fmla="*/ 1380524 h 4535740"/>
              <a:gd name="connsiteX12" fmla="*/ 2332464 w 2379591"/>
              <a:gd name="connsiteY12" fmla="*/ 684072 h 4535740"/>
              <a:gd name="connsiteX13" fmla="*/ 2194283 w 2379591"/>
              <a:gd name="connsiteY13" fmla="*/ 10355 h 453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79591" h="4535740">
                <a:moveTo>
                  <a:pt x="505550" y="0"/>
                </a:moveTo>
                <a:cubicBezTo>
                  <a:pt x="396229" y="122564"/>
                  <a:pt x="238560" y="409481"/>
                  <a:pt x="155937" y="808570"/>
                </a:cubicBezTo>
                <a:cubicBezTo>
                  <a:pt x="36659" y="1469481"/>
                  <a:pt x="6384" y="2029451"/>
                  <a:pt x="9812" y="2410244"/>
                </a:cubicBezTo>
                <a:cubicBezTo>
                  <a:pt x="0" y="2952569"/>
                  <a:pt x="40521" y="3920226"/>
                  <a:pt x="131582" y="4222149"/>
                </a:cubicBezTo>
                <a:cubicBezTo>
                  <a:pt x="149334" y="4261751"/>
                  <a:pt x="214114" y="4423829"/>
                  <a:pt x="377900" y="4494072"/>
                </a:cubicBezTo>
                <a:cubicBezTo>
                  <a:pt x="532161" y="4535740"/>
                  <a:pt x="657467" y="4521429"/>
                  <a:pt x="828546" y="4472155"/>
                </a:cubicBezTo>
                <a:cubicBezTo>
                  <a:pt x="999625" y="4422881"/>
                  <a:pt x="1243232" y="4295830"/>
                  <a:pt x="1404372" y="4198429"/>
                </a:cubicBezTo>
                <a:cubicBezTo>
                  <a:pt x="1565512" y="4101028"/>
                  <a:pt x="1683785" y="4017071"/>
                  <a:pt x="1795384" y="3887750"/>
                </a:cubicBezTo>
                <a:cubicBezTo>
                  <a:pt x="1906983" y="3758429"/>
                  <a:pt x="2002769" y="3583645"/>
                  <a:pt x="2073965" y="3422505"/>
                </a:cubicBezTo>
                <a:cubicBezTo>
                  <a:pt x="2145161" y="3261365"/>
                  <a:pt x="2177197" y="3140617"/>
                  <a:pt x="2222559" y="2920911"/>
                </a:cubicBezTo>
                <a:cubicBezTo>
                  <a:pt x="2267921" y="2701205"/>
                  <a:pt x="2320348" y="2360999"/>
                  <a:pt x="2346140" y="2104268"/>
                </a:cubicBezTo>
                <a:cubicBezTo>
                  <a:pt x="2371932" y="1847537"/>
                  <a:pt x="2379591" y="1617223"/>
                  <a:pt x="2377312" y="1380524"/>
                </a:cubicBezTo>
                <a:cubicBezTo>
                  <a:pt x="2375033" y="1143825"/>
                  <a:pt x="2362969" y="912434"/>
                  <a:pt x="2332464" y="684072"/>
                </a:cubicBezTo>
                <a:cubicBezTo>
                  <a:pt x="2301959" y="455711"/>
                  <a:pt x="2259237" y="166484"/>
                  <a:pt x="2194283" y="10355"/>
                </a:cubicBezTo>
              </a:path>
            </a:pathLst>
          </a:custGeom>
          <a:solidFill>
            <a:schemeClr val="bg1">
              <a:alpha val="40000"/>
            </a:schemeClr>
          </a:soli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0" name="Freeform 9"/>
          <p:cNvSpPr/>
          <p:nvPr userDrawn="1"/>
        </p:nvSpPr>
        <p:spPr bwMode="auto">
          <a:xfrm>
            <a:off x="4978174" y="-2445"/>
            <a:ext cx="1655714" cy="2415257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271813 w 2411361"/>
              <a:gd name="connsiteY0" fmla="*/ 0 h 3517549"/>
              <a:gd name="connsiteX1" fmla="*/ 51703 w 2411361"/>
              <a:gd name="connsiteY1" fmla="*/ 1398216 h 3517549"/>
              <a:gd name="connsiteX2" fmla="*/ 173473 w 2411361"/>
              <a:gd name="connsiteY2" fmla="*/ 3210121 h 3517549"/>
              <a:gd name="connsiteX3" fmla="*/ 462949 w 2411361"/>
              <a:gd name="connsiteY3" fmla="*/ 3475881 h 3517549"/>
              <a:gd name="connsiteX4" fmla="*/ 1006076 w 2411361"/>
              <a:gd name="connsiteY4" fmla="*/ 3460128 h 3517549"/>
              <a:gd name="connsiteX5" fmla="*/ 1606563 w 2411361"/>
              <a:gd name="connsiteY5" fmla="*/ 3186401 h 3517549"/>
              <a:gd name="connsiteX6" fmla="*/ 1942086 w 2411361"/>
              <a:gd name="connsiteY6" fmla="*/ 2875723 h 3517549"/>
              <a:gd name="connsiteX7" fmla="*/ 2208337 w 2411361"/>
              <a:gd name="connsiteY7" fmla="*/ 2410477 h 3517549"/>
              <a:gd name="connsiteX8" fmla="*/ 2344599 w 2411361"/>
              <a:gd name="connsiteY8" fmla="*/ 1791741 h 3517549"/>
              <a:gd name="connsiteX9" fmla="*/ 2400363 w 2411361"/>
              <a:gd name="connsiteY9" fmla="*/ 999760 h 3517549"/>
              <a:gd name="connsiteX10" fmla="*/ 2410590 w 2411361"/>
              <a:gd name="connsiteY10" fmla="*/ 232857 h 3517549"/>
              <a:gd name="connsiteX11" fmla="*/ 2398651 w 2411361"/>
              <a:gd name="connsiteY11" fmla="*/ 3284 h 3517549"/>
              <a:gd name="connsiteX12" fmla="*/ 404985 w 2411361"/>
              <a:gd name="connsiteY12" fmla="*/ 133172 h 3517549"/>
              <a:gd name="connsiteX0" fmla="*/ 271813 w 2411361"/>
              <a:gd name="connsiteY0" fmla="*/ 0 h 3517549"/>
              <a:gd name="connsiteX1" fmla="*/ 51703 w 2411361"/>
              <a:gd name="connsiteY1" fmla="*/ 1398216 h 3517549"/>
              <a:gd name="connsiteX2" fmla="*/ 173473 w 2411361"/>
              <a:gd name="connsiteY2" fmla="*/ 3210121 h 3517549"/>
              <a:gd name="connsiteX3" fmla="*/ 462949 w 2411361"/>
              <a:gd name="connsiteY3" fmla="*/ 3475881 h 3517549"/>
              <a:gd name="connsiteX4" fmla="*/ 1006076 w 2411361"/>
              <a:gd name="connsiteY4" fmla="*/ 3460128 h 3517549"/>
              <a:gd name="connsiteX5" fmla="*/ 1606563 w 2411361"/>
              <a:gd name="connsiteY5" fmla="*/ 3186401 h 3517549"/>
              <a:gd name="connsiteX6" fmla="*/ 1942086 w 2411361"/>
              <a:gd name="connsiteY6" fmla="*/ 2875723 h 3517549"/>
              <a:gd name="connsiteX7" fmla="*/ 2208337 w 2411361"/>
              <a:gd name="connsiteY7" fmla="*/ 2410477 h 3517549"/>
              <a:gd name="connsiteX8" fmla="*/ 2344599 w 2411361"/>
              <a:gd name="connsiteY8" fmla="*/ 1791741 h 3517549"/>
              <a:gd name="connsiteX9" fmla="*/ 2400363 w 2411361"/>
              <a:gd name="connsiteY9" fmla="*/ 999760 h 3517549"/>
              <a:gd name="connsiteX10" fmla="*/ 2410590 w 2411361"/>
              <a:gd name="connsiteY10" fmla="*/ 232857 h 3517549"/>
              <a:gd name="connsiteX11" fmla="*/ 2398651 w 2411361"/>
              <a:gd name="connsiteY11" fmla="*/ 3284 h 3517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11361" h="3517549">
                <a:moveTo>
                  <a:pt x="271813" y="0"/>
                </a:moveTo>
                <a:cubicBezTo>
                  <a:pt x="115543" y="556101"/>
                  <a:pt x="85267" y="1011259"/>
                  <a:pt x="51703" y="1398216"/>
                </a:cubicBezTo>
                <a:cubicBezTo>
                  <a:pt x="0" y="2724647"/>
                  <a:pt x="113238" y="3130152"/>
                  <a:pt x="173473" y="3210121"/>
                </a:cubicBezTo>
                <a:cubicBezTo>
                  <a:pt x="191225" y="3249723"/>
                  <a:pt x="299163" y="3405638"/>
                  <a:pt x="462949" y="3475881"/>
                </a:cubicBezTo>
                <a:cubicBezTo>
                  <a:pt x="617210" y="3517549"/>
                  <a:pt x="815474" y="3508375"/>
                  <a:pt x="1006076" y="3460128"/>
                </a:cubicBezTo>
                <a:cubicBezTo>
                  <a:pt x="1196678" y="3411881"/>
                  <a:pt x="1450561" y="3283802"/>
                  <a:pt x="1606563" y="3186401"/>
                </a:cubicBezTo>
                <a:cubicBezTo>
                  <a:pt x="1762565" y="3089000"/>
                  <a:pt x="1841790" y="3005044"/>
                  <a:pt x="1942086" y="2875723"/>
                </a:cubicBezTo>
                <a:cubicBezTo>
                  <a:pt x="2042382" y="2746402"/>
                  <a:pt x="2141252" y="2591141"/>
                  <a:pt x="2208337" y="2410477"/>
                </a:cubicBezTo>
                <a:cubicBezTo>
                  <a:pt x="2275423" y="2229813"/>
                  <a:pt x="2312595" y="2026860"/>
                  <a:pt x="2344599" y="1791741"/>
                </a:cubicBezTo>
                <a:cubicBezTo>
                  <a:pt x="2376603" y="1556622"/>
                  <a:pt x="2389365" y="1259574"/>
                  <a:pt x="2400363" y="999760"/>
                </a:cubicBezTo>
                <a:cubicBezTo>
                  <a:pt x="2411361" y="739946"/>
                  <a:pt x="2410875" y="398936"/>
                  <a:pt x="2410590" y="232857"/>
                </a:cubicBezTo>
                <a:cubicBezTo>
                  <a:pt x="2410305" y="66778"/>
                  <a:pt x="2407797" y="70865"/>
                  <a:pt x="2398651" y="3284"/>
                </a:cubicBezTo>
              </a:path>
            </a:pathLst>
          </a:custGeom>
          <a:solidFill>
            <a:schemeClr val="bg1">
              <a:alpha val="40000"/>
            </a:schemeClr>
          </a:soli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2" name="Freeform 11"/>
          <p:cNvSpPr/>
          <p:nvPr userDrawn="1"/>
        </p:nvSpPr>
        <p:spPr bwMode="auto">
          <a:xfrm>
            <a:off x="6887412" y="-854"/>
            <a:ext cx="1244389" cy="1432996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979328"/>
              <a:gd name="connsiteY0" fmla="*/ 3210121 h 3517549"/>
              <a:gd name="connsiteX1" fmla="*/ 462949 w 2979328"/>
              <a:gd name="connsiteY1" fmla="*/ 3475881 h 3517549"/>
              <a:gd name="connsiteX2" fmla="*/ 1006076 w 2979328"/>
              <a:gd name="connsiteY2" fmla="*/ 3460128 h 3517549"/>
              <a:gd name="connsiteX3" fmla="*/ 1606563 w 2979328"/>
              <a:gd name="connsiteY3" fmla="*/ 3186401 h 3517549"/>
              <a:gd name="connsiteX4" fmla="*/ 1942086 w 2979328"/>
              <a:gd name="connsiteY4" fmla="*/ 2875723 h 3517549"/>
              <a:gd name="connsiteX5" fmla="*/ 2208337 w 2979328"/>
              <a:gd name="connsiteY5" fmla="*/ 2410477 h 3517549"/>
              <a:gd name="connsiteX6" fmla="*/ 2344599 w 2979328"/>
              <a:gd name="connsiteY6" fmla="*/ 1791741 h 3517549"/>
              <a:gd name="connsiteX7" fmla="*/ 2400363 w 2979328"/>
              <a:gd name="connsiteY7" fmla="*/ 999760 h 3517549"/>
              <a:gd name="connsiteX8" fmla="*/ 2410590 w 2979328"/>
              <a:gd name="connsiteY8" fmla="*/ 232857 h 3517549"/>
              <a:gd name="connsiteX9" fmla="*/ 2970181 w 2979328"/>
              <a:gd name="connsiteY9" fmla="*/ 3284 h 3517549"/>
              <a:gd name="connsiteX10" fmla="*/ 271813 w 2979328"/>
              <a:gd name="connsiteY10" fmla="*/ 0 h 3517549"/>
              <a:gd name="connsiteX11" fmla="*/ 51703 w 2979328"/>
              <a:gd name="connsiteY11" fmla="*/ 1398216 h 3517549"/>
              <a:gd name="connsiteX12" fmla="*/ 173473 w 2979328"/>
              <a:gd name="connsiteY12" fmla="*/ 3210121 h 3517549"/>
              <a:gd name="connsiteX0" fmla="*/ 173473 w 3097874"/>
              <a:gd name="connsiteY0" fmla="*/ 3210121 h 3517549"/>
              <a:gd name="connsiteX1" fmla="*/ 462949 w 3097874"/>
              <a:gd name="connsiteY1" fmla="*/ 3475881 h 3517549"/>
              <a:gd name="connsiteX2" fmla="*/ 1006076 w 3097874"/>
              <a:gd name="connsiteY2" fmla="*/ 3460128 h 3517549"/>
              <a:gd name="connsiteX3" fmla="*/ 1606563 w 3097874"/>
              <a:gd name="connsiteY3" fmla="*/ 3186401 h 3517549"/>
              <a:gd name="connsiteX4" fmla="*/ 1942086 w 3097874"/>
              <a:gd name="connsiteY4" fmla="*/ 2875723 h 3517549"/>
              <a:gd name="connsiteX5" fmla="*/ 2208337 w 3097874"/>
              <a:gd name="connsiteY5" fmla="*/ 2410477 h 3517549"/>
              <a:gd name="connsiteX6" fmla="*/ 2344599 w 3097874"/>
              <a:gd name="connsiteY6" fmla="*/ 1791741 h 3517549"/>
              <a:gd name="connsiteX7" fmla="*/ 2400363 w 3097874"/>
              <a:gd name="connsiteY7" fmla="*/ 999760 h 3517549"/>
              <a:gd name="connsiteX8" fmla="*/ 3002905 w 3097874"/>
              <a:gd name="connsiteY8" fmla="*/ 232856 h 3517549"/>
              <a:gd name="connsiteX9" fmla="*/ 2970181 w 3097874"/>
              <a:gd name="connsiteY9" fmla="*/ 3284 h 3517549"/>
              <a:gd name="connsiteX10" fmla="*/ 271813 w 3097874"/>
              <a:gd name="connsiteY10" fmla="*/ 0 h 3517549"/>
              <a:gd name="connsiteX11" fmla="*/ 51703 w 3097874"/>
              <a:gd name="connsiteY11" fmla="*/ 1398216 h 3517549"/>
              <a:gd name="connsiteX12" fmla="*/ 173473 w 3097874"/>
              <a:gd name="connsiteY12" fmla="*/ 3210121 h 3517549"/>
              <a:gd name="connsiteX0" fmla="*/ 173473 w 3019265"/>
              <a:gd name="connsiteY0" fmla="*/ 3210121 h 3517549"/>
              <a:gd name="connsiteX1" fmla="*/ 462949 w 3019265"/>
              <a:gd name="connsiteY1" fmla="*/ 3475881 h 3517549"/>
              <a:gd name="connsiteX2" fmla="*/ 1006076 w 3019265"/>
              <a:gd name="connsiteY2" fmla="*/ 3460128 h 3517549"/>
              <a:gd name="connsiteX3" fmla="*/ 1606563 w 3019265"/>
              <a:gd name="connsiteY3" fmla="*/ 3186401 h 3517549"/>
              <a:gd name="connsiteX4" fmla="*/ 1942086 w 3019265"/>
              <a:gd name="connsiteY4" fmla="*/ 2875723 h 3517549"/>
              <a:gd name="connsiteX5" fmla="*/ 2208337 w 3019265"/>
              <a:gd name="connsiteY5" fmla="*/ 2410477 h 3517549"/>
              <a:gd name="connsiteX6" fmla="*/ 2344599 w 3019265"/>
              <a:gd name="connsiteY6" fmla="*/ 1791741 h 3517549"/>
              <a:gd name="connsiteX7" fmla="*/ 2909548 w 3019265"/>
              <a:gd name="connsiteY7" fmla="*/ 1249156 h 3517549"/>
              <a:gd name="connsiteX8" fmla="*/ 3002905 w 3019265"/>
              <a:gd name="connsiteY8" fmla="*/ 232856 h 3517549"/>
              <a:gd name="connsiteX9" fmla="*/ 2970181 w 3019265"/>
              <a:gd name="connsiteY9" fmla="*/ 3284 h 3517549"/>
              <a:gd name="connsiteX10" fmla="*/ 271813 w 3019265"/>
              <a:gd name="connsiteY10" fmla="*/ 0 h 3517549"/>
              <a:gd name="connsiteX11" fmla="*/ 51703 w 3019265"/>
              <a:gd name="connsiteY11" fmla="*/ 1398216 h 3517549"/>
              <a:gd name="connsiteX12" fmla="*/ 173473 w 3019265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208337 w 3013010"/>
              <a:gd name="connsiteY5" fmla="*/ 2410477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689070"/>
              <a:gd name="connsiteX1" fmla="*/ 462949 w 3013010"/>
              <a:gd name="connsiteY1" fmla="*/ 3475881 h 3689070"/>
              <a:gd name="connsiteX2" fmla="*/ 1006076 w 3013010"/>
              <a:gd name="connsiteY2" fmla="*/ 3460128 h 3689070"/>
              <a:gd name="connsiteX3" fmla="*/ 1959873 w 3013010"/>
              <a:gd name="connsiteY3" fmla="*/ 3591668 h 3689070"/>
              <a:gd name="connsiteX4" fmla="*/ 2160308 w 3013010"/>
              <a:gd name="connsiteY4" fmla="*/ 2875723 h 3689070"/>
              <a:gd name="connsiteX5" fmla="*/ 2530474 w 3013010"/>
              <a:gd name="connsiteY5" fmla="*/ 2410478 h 3689070"/>
              <a:gd name="connsiteX6" fmla="*/ 2791434 w 3013010"/>
              <a:gd name="connsiteY6" fmla="*/ 1791741 h 3689070"/>
              <a:gd name="connsiteX7" fmla="*/ 2909548 w 3013010"/>
              <a:gd name="connsiteY7" fmla="*/ 1249156 h 3689070"/>
              <a:gd name="connsiteX8" fmla="*/ 3002905 w 3013010"/>
              <a:gd name="connsiteY8" fmla="*/ 232856 h 3689070"/>
              <a:gd name="connsiteX9" fmla="*/ 2970181 w 3013010"/>
              <a:gd name="connsiteY9" fmla="*/ 3284 h 3689070"/>
              <a:gd name="connsiteX10" fmla="*/ 271813 w 3013010"/>
              <a:gd name="connsiteY10" fmla="*/ 0 h 3689070"/>
              <a:gd name="connsiteX11" fmla="*/ 51703 w 3013010"/>
              <a:gd name="connsiteY11" fmla="*/ 1398216 h 3689070"/>
              <a:gd name="connsiteX12" fmla="*/ 173473 w 3013010"/>
              <a:gd name="connsiteY12" fmla="*/ 3210121 h 3689070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679883 w 3013010"/>
              <a:gd name="connsiteY4" fmla="*/ 3073161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29134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459843"/>
              <a:gd name="connsiteY0" fmla="*/ 3210121 h 3517549"/>
              <a:gd name="connsiteX1" fmla="*/ 462949 w 3459843"/>
              <a:gd name="connsiteY1" fmla="*/ 3475881 h 3517549"/>
              <a:gd name="connsiteX2" fmla="*/ 1006076 w 3459843"/>
              <a:gd name="connsiteY2" fmla="*/ 3460128 h 3517549"/>
              <a:gd name="connsiteX3" fmla="*/ 1668913 w 3459843"/>
              <a:gd name="connsiteY3" fmla="*/ 3186400 h 3517549"/>
              <a:gd name="connsiteX4" fmla="*/ 2129134 w 3459843"/>
              <a:gd name="connsiteY4" fmla="*/ 2875723 h 3517549"/>
              <a:gd name="connsiteX5" fmla="*/ 2530474 w 3459843"/>
              <a:gd name="connsiteY5" fmla="*/ 2410478 h 3517549"/>
              <a:gd name="connsiteX6" fmla="*/ 2791434 w 3459843"/>
              <a:gd name="connsiteY6" fmla="*/ 1791741 h 3517549"/>
              <a:gd name="connsiteX7" fmla="*/ 2909548 w 3459843"/>
              <a:gd name="connsiteY7" fmla="*/ 1249156 h 3517549"/>
              <a:gd name="connsiteX8" fmla="*/ 3449739 w 3459843"/>
              <a:gd name="connsiteY8" fmla="*/ 690080 h 3517549"/>
              <a:gd name="connsiteX9" fmla="*/ 2970181 w 3459843"/>
              <a:gd name="connsiteY9" fmla="*/ 3284 h 3517549"/>
              <a:gd name="connsiteX10" fmla="*/ 271813 w 3459843"/>
              <a:gd name="connsiteY10" fmla="*/ 0 h 3517549"/>
              <a:gd name="connsiteX11" fmla="*/ 51703 w 3459843"/>
              <a:gd name="connsiteY11" fmla="*/ 1398216 h 3517549"/>
              <a:gd name="connsiteX12" fmla="*/ 173473 w 3459843"/>
              <a:gd name="connsiteY12" fmla="*/ 3210121 h 3517549"/>
              <a:gd name="connsiteX0" fmla="*/ 173473 w 2981836"/>
              <a:gd name="connsiteY0" fmla="*/ 3210121 h 3517549"/>
              <a:gd name="connsiteX1" fmla="*/ 462949 w 2981836"/>
              <a:gd name="connsiteY1" fmla="*/ 3475881 h 3517549"/>
              <a:gd name="connsiteX2" fmla="*/ 1006076 w 2981836"/>
              <a:gd name="connsiteY2" fmla="*/ 3460128 h 3517549"/>
              <a:gd name="connsiteX3" fmla="*/ 1668913 w 2981836"/>
              <a:gd name="connsiteY3" fmla="*/ 3186400 h 3517549"/>
              <a:gd name="connsiteX4" fmla="*/ 2129134 w 2981836"/>
              <a:gd name="connsiteY4" fmla="*/ 2875723 h 3517549"/>
              <a:gd name="connsiteX5" fmla="*/ 2530474 w 2981836"/>
              <a:gd name="connsiteY5" fmla="*/ 2410478 h 3517549"/>
              <a:gd name="connsiteX6" fmla="*/ 2791434 w 2981836"/>
              <a:gd name="connsiteY6" fmla="*/ 1791741 h 3517549"/>
              <a:gd name="connsiteX7" fmla="*/ 2909548 w 2981836"/>
              <a:gd name="connsiteY7" fmla="*/ 1249156 h 3517549"/>
              <a:gd name="connsiteX8" fmla="*/ 2971730 w 2981836"/>
              <a:gd name="connsiteY8" fmla="*/ 565382 h 3517549"/>
              <a:gd name="connsiteX9" fmla="*/ 2970181 w 2981836"/>
              <a:gd name="connsiteY9" fmla="*/ 3284 h 3517549"/>
              <a:gd name="connsiteX10" fmla="*/ 271813 w 2981836"/>
              <a:gd name="connsiteY10" fmla="*/ 0 h 3517549"/>
              <a:gd name="connsiteX11" fmla="*/ 51703 w 2981836"/>
              <a:gd name="connsiteY11" fmla="*/ 1398216 h 3517549"/>
              <a:gd name="connsiteX12" fmla="*/ 173473 w 2981836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85554 w 3115687"/>
              <a:gd name="connsiteY11" fmla="*/ 1398216 h 3517549"/>
              <a:gd name="connsiteX12" fmla="*/ 307324 w 3115687"/>
              <a:gd name="connsiteY12" fmla="*/ 3210121 h 3517549"/>
              <a:gd name="connsiteX0" fmla="*/ 713829 w 3522192"/>
              <a:gd name="connsiteY0" fmla="*/ 3210121 h 3517549"/>
              <a:gd name="connsiteX1" fmla="*/ 1003305 w 3522192"/>
              <a:gd name="connsiteY1" fmla="*/ 3475881 h 3517549"/>
              <a:gd name="connsiteX2" fmla="*/ 1546432 w 3522192"/>
              <a:gd name="connsiteY2" fmla="*/ 3460128 h 3517549"/>
              <a:gd name="connsiteX3" fmla="*/ 2209269 w 3522192"/>
              <a:gd name="connsiteY3" fmla="*/ 3186400 h 3517549"/>
              <a:gd name="connsiteX4" fmla="*/ 2669490 w 3522192"/>
              <a:gd name="connsiteY4" fmla="*/ 2875723 h 3517549"/>
              <a:gd name="connsiteX5" fmla="*/ 3070830 w 3522192"/>
              <a:gd name="connsiteY5" fmla="*/ 2410478 h 3517549"/>
              <a:gd name="connsiteX6" fmla="*/ 3331790 w 3522192"/>
              <a:gd name="connsiteY6" fmla="*/ 1791741 h 3517549"/>
              <a:gd name="connsiteX7" fmla="*/ 3449904 w 3522192"/>
              <a:gd name="connsiteY7" fmla="*/ 1249156 h 3517549"/>
              <a:gd name="connsiteX8" fmla="*/ 3512086 w 3522192"/>
              <a:gd name="connsiteY8" fmla="*/ 565382 h 3517549"/>
              <a:gd name="connsiteX9" fmla="*/ 3510537 w 3522192"/>
              <a:gd name="connsiteY9" fmla="*/ 3284 h 3517549"/>
              <a:gd name="connsiteX10" fmla="*/ 562775 w 3522192"/>
              <a:gd name="connsiteY10" fmla="*/ 0 h 3517549"/>
              <a:gd name="connsiteX11" fmla="*/ 51703 w 3522192"/>
              <a:gd name="connsiteY11" fmla="*/ 1398216 h 3517549"/>
              <a:gd name="connsiteX12" fmla="*/ 713829 w 3522192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443652 w 3252015"/>
              <a:gd name="connsiteY0" fmla="*/ 3210121 h 3517549"/>
              <a:gd name="connsiteX1" fmla="*/ 733128 w 3252015"/>
              <a:gd name="connsiteY1" fmla="*/ 3475881 h 3517549"/>
              <a:gd name="connsiteX2" fmla="*/ 1276255 w 3252015"/>
              <a:gd name="connsiteY2" fmla="*/ 3460128 h 3517549"/>
              <a:gd name="connsiteX3" fmla="*/ 1939092 w 3252015"/>
              <a:gd name="connsiteY3" fmla="*/ 3186400 h 3517549"/>
              <a:gd name="connsiteX4" fmla="*/ 2399313 w 3252015"/>
              <a:gd name="connsiteY4" fmla="*/ 2875723 h 3517549"/>
              <a:gd name="connsiteX5" fmla="*/ 2800653 w 3252015"/>
              <a:gd name="connsiteY5" fmla="*/ 2410478 h 3517549"/>
              <a:gd name="connsiteX6" fmla="*/ 3061613 w 3252015"/>
              <a:gd name="connsiteY6" fmla="*/ 1791741 h 3517549"/>
              <a:gd name="connsiteX7" fmla="*/ 3179727 w 3252015"/>
              <a:gd name="connsiteY7" fmla="*/ 1249156 h 3517549"/>
              <a:gd name="connsiteX8" fmla="*/ 3241909 w 3252015"/>
              <a:gd name="connsiteY8" fmla="*/ 565382 h 3517549"/>
              <a:gd name="connsiteX9" fmla="*/ 3240360 w 3252015"/>
              <a:gd name="connsiteY9" fmla="*/ 3284 h 3517549"/>
              <a:gd name="connsiteX10" fmla="*/ 292598 w 3252015"/>
              <a:gd name="connsiteY10" fmla="*/ 0 h 3517549"/>
              <a:gd name="connsiteX11" fmla="*/ 51703 w 3252015"/>
              <a:gd name="connsiteY11" fmla="*/ 1398216 h 3517549"/>
              <a:gd name="connsiteX12" fmla="*/ 443652 w 3252015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95161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438080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126335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126335 w 3054578"/>
              <a:gd name="connsiteY0" fmla="*/ 0 h 3517549"/>
              <a:gd name="connsiteX1" fmla="*/ 51703 w 3054578"/>
              <a:gd name="connsiteY1" fmla="*/ 1398216 h 3517549"/>
              <a:gd name="connsiteX2" fmla="*/ 246215 w 3054578"/>
              <a:gd name="connsiteY2" fmla="*/ 3210121 h 3517549"/>
              <a:gd name="connsiteX3" fmla="*/ 535691 w 3054578"/>
              <a:gd name="connsiteY3" fmla="*/ 3475881 h 3517549"/>
              <a:gd name="connsiteX4" fmla="*/ 1078818 w 3054578"/>
              <a:gd name="connsiteY4" fmla="*/ 3460128 h 3517549"/>
              <a:gd name="connsiteX5" fmla="*/ 1741655 w 3054578"/>
              <a:gd name="connsiteY5" fmla="*/ 3186400 h 3517549"/>
              <a:gd name="connsiteX6" fmla="*/ 2201876 w 3054578"/>
              <a:gd name="connsiteY6" fmla="*/ 2875723 h 3517549"/>
              <a:gd name="connsiteX7" fmla="*/ 2603216 w 3054578"/>
              <a:gd name="connsiteY7" fmla="*/ 2410478 h 3517549"/>
              <a:gd name="connsiteX8" fmla="*/ 2864176 w 3054578"/>
              <a:gd name="connsiteY8" fmla="*/ 1791741 h 3517549"/>
              <a:gd name="connsiteX9" fmla="*/ 2982290 w 3054578"/>
              <a:gd name="connsiteY9" fmla="*/ 1249156 h 3517549"/>
              <a:gd name="connsiteX10" fmla="*/ 3044472 w 3054578"/>
              <a:gd name="connsiteY10" fmla="*/ 565382 h 3517549"/>
              <a:gd name="connsiteX11" fmla="*/ 3042923 w 3054578"/>
              <a:gd name="connsiteY11" fmla="*/ 3284 h 3517549"/>
              <a:gd name="connsiteX12" fmla="*/ 350791 w 3054578"/>
              <a:gd name="connsiteY12" fmla="*/ 224456 h 3517549"/>
              <a:gd name="connsiteX0" fmla="*/ 126335 w 3054578"/>
              <a:gd name="connsiteY0" fmla="*/ 0 h 3517549"/>
              <a:gd name="connsiteX1" fmla="*/ 51703 w 3054578"/>
              <a:gd name="connsiteY1" fmla="*/ 1398216 h 3517549"/>
              <a:gd name="connsiteX2" fmla="*/ 246215 w 3054578"/>
              <a:gd name="connsiteY2" fmla="*/ 3210121 h 3517549"/>
              <a:gd name="connsiteX3" fmla="*/ 535691 w 3054578"/>
              <a:gd name="connsiteY3" fmla="*/ 3475881 h 3517549"/>
              <a:gd name="connsiteX4" fmla="*/ 1078818 w 3054578"/>
              <a:gd name="connsiteY4" fmla="*/ 3460128 h 3517549"/>
              <a:gd name="connsiteX5" fmla="*/ 1741655 w 3054578"/>
              <a:gd name="connsiteY5" fmla="*/ 3186400 h 3517549"/>
              <a:gd name="connsiteX6" fmla="*/ 2201876 w 3054578"/>
              <a:gd name="connsiteY6" fmla="*/ 2875723 h 3517549"/>
              <a:gd name="connsiteX7" fmla="*/ 2603216 w 3054578"/>
              <a:gd name="connsiteY7" fmla="*/ 2410478 h 3517549"/>
              <a:gd name="connsiteX8" fmla="*/ 2864176 w 3054578"/>
              <a:gd name="connsiteY8" fmla="*/ 1791741 h 3517549"/>
              <a:gd name="connsiteX9" fmla="*/ 2982290 w 3054578"/>
              <a:gd name="connsiteY9" fmla="*/ 1249156 h 3517549"/>
              <a:gd name="connsiteX10" fmla="*/ 3044472 w 3054578"/>
              <a:gd name="connsiteY10" fmla="*/ 565382 h 3517549"/>
              <a:gd name="connsiteX11" fmla="*/ 3042923 w 3054578"/>
              <a:gd name="connsiteY11" fmla="*/ 3284 h 3517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054578" h="3517549">
                <a:moveTo>
                  <a:pt x="126335" y="0"/>
                </a:moveTo>
                <a:cubicBezTo>
                  <a:pt x="84372" y="587275"/>
                  <a:pt x="54094" y="938521"/>
                  <a:pt x="51703" y="1398216"/>
                </a:cubicBezTo>
                <a:cubicBezTo>
                  <a:pt x="0" y="2545850"/>
                  <a:pt x="185980" y="3130152"/>
                  <a:pt x="246215" y="3210121"/>
                </a:cubicBezTo>
                <a:cubicBezTo>
                  <a:pt x="263967" y="3249723"/>
                  <a:pt x="371905" y="3405638"/>
                  <a:pt x="535691" y="3475881"/>
                </a:cubicBezTo>
                <a:cubicBezTo>
                  <a:pt x="689952" y="3517549"/>
                  <a:pt x="877824" y="3508375"/>
                  <a:pt x="1078818" y="3460128"/>
                </a:cubicBezTo>
                <a:cubicBezTo>
                  <a:pt x="1279812" y="3411881"/>
                  <a:pt x="1554479" y="3283801"/>
                  <a:pt x="1741655" y="3186400"/>
                </a:cubicBezTo>
                <a:cubicBezTo>
                  <a:pt x="1928831" y="3088999"/>
                  <a:pt x="2058283" y="3005043"/>
                  <a:pt x="2201876" y="2875723"/>
                </a:cubicBezTo>
                <a:cubicBezTo>
                  <a:pt x="2345469" y="2746403"/>
                  <a:pt x="2492833" y="2591142"/>
                  <a:pt x="2603216" y="2410478"/>
                </a:cubicBezTo>
                <a:cubicBezTo>
                  <a:pt x="2713599" y="2229814"/>
                  <a:pt x="2800997" y="1985295"/>
                  <a:pt x="2864176" y="1791741"/>
                </a:cubicBezTo>
                <a:cubicBezTo>
                  <a:pt x="2927355" y="1598187"/>
                  <a:pt x="2952241" y="1453549"/>
                  <a:pt x="2982290" y="1249156"/>
                </a:cubicBezTo>
                <a:cubicBezTo>
                  <a:pt x="3012339" y="1044763"/>
                  <a:pt x="3034367" y="773027"/>
                  <a:pt x="3044472" y="565382"/>
                </a:cubicBezTo>
                <a:cubicBezTo>
                  <a:pt x="3054577" y="357737"/>
                  <a:pt x="3052069" y="70865"/>
                  <a:pt x="3042923" y="3284"/>
                </a:cubicBezTo>
              </a:path>
            </a:pathLst>
          </a:custGeom>
          <a:solidFill>
            <a:schemeClr val="bg1">
              <a:alpha val="40000"/>
            </a:schemeClr>
          </a:soli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3" name="Freeform 12"/>
          <p:cNvSpPr>
            <a:spLocks noChangeAspect="1"/>
          </p:cNvSpPr>
          <p:nvPr userDrawn="1"/>
        </p:nvSpPr>
        <p:spPr bwMode="auto">
          <a:xfrm>
            <a:off x="8385034" y="1575"/>
            <a:ext cx="763461" cy="662679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979328"/>
              <a:gd name="connsiteY0" fmla="*/ 3210121 h 3517549"/>
              <a:gd name="connsiteX1" fmla="*/ 462949 w 2979328"/>
              <a:gd name="connsiteY1" fmla="*/ 3475881 h 3517549"/>
              <a:gd name="connsiteX2" fmla="*/ 1006076 w 2979328"/>
              <a:gd name="connsiteY2" fmla="*/ 3460128 h 3517549"/>
              <a:gd name="connsiteX3" fmla="*/ 1606563 w 2979328"/>
              <a:gd name="connsiteY3" fmla="*/ 3186401 h 3517549"/>
              <a:gd name="connsiteX4" fmla="*/ 1942086 w 2979328"/>
              <a:gd name="connsiteY4" fmla="*/ 2875723 h 3517549"/>
              <a:gd name="connsiteX5" fmla="*/ 2208337 w 2979328"/>
              <a:gd name="connsiteY5" fmla="*/ 2410477 h 3517549"/>
              <a:gd name="connsiteX6" fmla="*/ 2344599 w 2979328"/>
              <a:gd name="connsiteY6" fmla="*/ 1791741 h 3517549"/>
              <a:gd name="connsiteX7" fmla="*/ 2400363 w 2979328"/>
              <a:gd name="connsiteY7" fmla="*/ 999760 h 3517549"/>
              <a:gd name="connsiteX8" fmla="*/ 2410590 w 2979328"/>
              <a:gd name="connsiteY8" fmla="*/ 232857 h 3517549"/>
              <a:gd name="connsiteX9" fmla="*/ 2970181 w 2979328"/>
              <a:gd name="connsiteY9" fmla="*/ 3284 h 3517549"/>
              <a:gd name="connsiteX10" fmla="*/ 271813 w 2979328"/>
              <a:gd name="connsiteY10" fmla="*/ 0 h 3517549"/>
              <a:gd name="connsiteX11" fmla="*/ 51703 w 2979328"/>
              <a:gd name="connsiteY11" fmla="*/ 1398216 h 3517549"/>
              <a:gd name="connsiteX12" fmla="*/ 173473 w 2979328"/>
              <a:gd name="connsiteY12" fmla="*/ 3210121 h 3517549"/>
              <a:gd name="connsiteX0" fmla="*/ 173473 w 3097874"/>
              <a:gd name="connsiteY0" fmla="*/ 3210121 h 3517549"/>
              <a:gd name="connsiteX1" fmla="*/ 462949 w 3097874"/>
              <a:gd name="connsiteY1" fmla="*/ 3475881 h 3517549"/>
              <a:gd name="connsiteX2" fmla="*/ 1006076 w 3097874"/>
              <a:gd name="connsiteY2" fmla="*/ 3460128 h 3517549"/>
              <a:gd name="connsiteX3" fmla="*/ 1606563 w 3097874"/>
              <a:gd name="connsiteY3" fmla="*/ 3186401 h 3517549"/>
              <a:gd name="connsiteX4" fmla="*/ 1942086 w 3097874"/>
              <a:gd name="connsiteY4" fmla="*/ 2875723 h 3517549"/>
              <a:gd name="connsiteX5" fmla="*/ 2208337 w 3097874"/>
              <a:gd name="connsiteY5" fmla="*/ 2410477 h 3517549"/>
              <a:gd name="connsiteX6" fmla="*/ 2344599 w 3097874"/>
              <a:gd name="connsiteY6" fmla="*/ 1791741 h 3517549"/>
              <a:gd name="connsiteX7" fmla="*/ 2400363 w 3097874"/>
              <a:gd name="connsiteY7" fmla="*/ 999760 h 3517549"/>
              <a:gd name="connsiteX8" fmla="*/ 3002905 w 3097874"/>
              <a:gd name="connsiteY8" fmla="*/ 232856 h 3517549"/>
              <a:gd name="connsiteX9" fmla="*/ 2970181 w 3097874"/>
              <a:gd name="connsiteY9" fmla="*/ 3284 h 3517549"/>
              <a:gd name="connsiteX10" fmla="*/ 271813 w 3097874"/>
              <a:gd name="connsiteY10" fmla="*/ 0 h 3517549"/>
              <a:gd name="connsiteX11" fmla="*/ 51703 w 3097874"/>
              <a:gd name="connsiteY11" fmla="*/ 1398216 h 3517549"/>
              <a:gd name="connsiteX12" fmla="*/ 173473 w 3097874"/>
              <a:gd name="connsiteY12" fmla="*/ 3210121 h 3517549"/>
              <a:gd name="connsiteX0" fmla="*/ 173473 w 3019265"/>
              <a:gd name="connsiteY0" fmla="*/ 3210121 h 3517549"/>
              <a:gd name="connsiteX1" fmla="*/ 462949 w 3019265"/>
              <a:gd name="connsiteY1" fmla="*/ 3475881 h 3517549"/>
              <a:gd name="connsiteX2" fmla="*/ 1006076 w 3019265"/>
              <a:gd name="connsiteY2" fmla="*/ 3460128 h 3517549"/>
              <a:gd name="connsiteX3" fmla="*/ 1606563 w 3019265"/>
              <a:gd name="connsiteY3" fmla="*/ 3186401 h 3517549"/>
              <a:gd name="connsiteX4" fmla="*/ 1942086 w 3019265"/>
              <a:gd name="connsiteY4" fmla="*/ 2875723 h 3517549"/>
              <a:gd name="connsiteX5" fmla="*/ 2208337 w 3019265"/>
              <a:gd name="connsiteY5" fmla="*/ 2410477 h 3517549"/>
              <a:gd name="connsiteX6" fmla="*/ 2344599 w 3019265"/>
              <a:gd name="connsiteY6" fmla="*/ 1791741 h 3517549"/>
              <a:gd name="connsiteX7" fmla="*/ 2909548 w 3019265"/>
              <a:gd name="connsiteY7" fmla="*/ 1249156 h 3517549"/>
              <a:gd name="connsiteX8" fmla="*/ 3002905 w 3019265"/>
              <a:gd name="connsiteY8" fmla="*/ 232856 h 3517549"/>
              <a:gd name="connsiteX9" fmla="*/ 2970181 w 3019265"/>
              <a:gd name="connsiteY9" fmla="*/ 3284 h 3517549"/>
              <a:gd name="connsiteX10" fmla="*/ 271813 w 3019265"/>
              <a:gd name="connsiteY10" fmla="*/ 0 h 3517549"/>
              <a:gd name="connsiteX11" fmla="*/ 51703 w 3019265"/>
              <a:gd name="connsiteY11" fmla="*/ 1398216 h 3517549"/>
              <a:gd name="connsiteX12" fmla="*/ 173473 w 3019265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208337 w 3013010"/>
              <a:gd name="connsiteY5" fmla="*/ 2410477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689070"/>
              <a:gd name="connsiteX1" fmla="*/ 462949 w 3013010"/>
              <a:gd name="connsiteY1" fmla="*/ 3475881 h 3689070"/>
              <a:gd name="connsiteX2" fmla="*/ 1006076 w 3013010"/>
              <a:gd name="connsiteY2" fmla="*/ 3460128 h 3689070"/>
              <a:gd name="connsiteX3" fmla="*/ 1959873 w 3013010"/>
              <a:gd name="connsiteY3" fmla="*/ 3591668 h 3689070"/>
              <a:gd name="connsiteX4" fmla="*/ 2160308 w 3013010"/>
              <a:gd name="connsiteY4" fmla="*/ 2875723 h 3689070"/>
              <a:gd name="connsiteX5" fmla="*/ 2530474 w 3013010"/>
              <a:gd name="connsiteY5" fmla="*/ 2410478 h 3689070"/>
              <a:gd name="connsiteX6" fmla="*/ 2791434 w 3013010"/>
              <a:gd name="connsiteY6" fmla="*/ 1791741 h 3689070"/>
              <a:gd name="connsiteX7" fmla="*/ 2909548 w 3013010"/>
              <a:gd name="connsiteY7" fmla="*/ 1249156 h 3689070"/>
              <a:gd name="connsiteX8" fmla="*/ 3002905 w 3013010"/>
              <a:gd name="connsiteY8" fmla="*/ 232856 h 3689070"/>
              <a:gd name="connsiteX9" fmla="*/ 2970181 w 3013010"/>
              <a:gd name="connsiteY9" fmla="*/ 3284 h 3689070"/>
              <a:gd name="connsiteX10" fmla="*/ 271813 w 3013010"/>
              <a:gd name="connsiteY10" fmla="*/ 0 h 3689070"/>
              <a:gd name="connsiteX11" fmla="*/ 51703 w 3013010"/>
              <a:gd name="connsiteY11" fmla="*/ 1398216 h 3689070"/>
              <a:gd name="connsiteX12" fmla="*/ 173473 w 3013010"/>
              <a:gd name="connsiteY12" fmla="*/ 3210121 h 3689070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679883 w 3013010"/>
              <a:gd name="connsiteY4" fmla="*/ 3073161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29134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459843"/>
              <a:gd name="connsiteY0" fmla="*/ 3210121 h 3517549"/>
              <a:gd name="connsiteX1" fmla="*/ 462949 w 3459843"/>
              <a:gd name="connsiteY1" fmla="*/ 3475881 h 3517549"/>
              <a:gd name="connsiteX2" fmla="*/ 1006076 w 3459843"/>
              <a:gd name="connsiteY2" fmla="*/ 3460128 h 3517549"/>
              <a:gd name="connsiteX3" fmla="*/ 1668913 w 3459843"/>
              <a:gd name="connsiteY3" fmla="*/ 3186400 h 3517549"/>
              <a:gd name="connsiteX4" fmla="*/ 2129134 w 3459843"/>
              <a:gd name="connsiteY4" fmla="*/ 2875723 h 3517549"/>
              <a:gd name="connsiteX5" fmla="*/ 2530474 w 3459843"/>
              <a:gd name="connsiteY5" fmla="*/ 2410478 h 3517549"/>
              <a:gd name="connsiteX6" fmla="*/ 2791434 w 3459843"/>
              <a:gd name="connsiteY6" fmla="*/ 1791741 h 3517549"/>
              <a:gd name="connsiteX7" fmla="*/ 2909548 w 3459843"/>
              <a:gd name="connsiteY7" fmla="*/ 1249156 h 3517549"/>
              <a:gd name="connsiteX8" fmla="*/ 3449739 w 3459843"/>
              <a:gd name="connsiteY8" fmla="*/ 690080 h 3517549"/>
              <a:gd name="connsiteX9" fmla="*/ 2970181 w 3459843"/>
              <a:gd name="connsiteY9" fmla="*/ 3284 h 3517549"/>
              <a:gd name="connsiteX10" fmla="*/ 271813 w 3459843"/>
              <a:gd name="connsiteY10" fmla="*/ 0 h 3517549"/>
              <a:gd name="connsiteX11" fmla="*/ 51703 w 3459843"/>
              <a:gd name="connsiteY11" fmla="*/ 1398216 h 3517549"/>
              <a:gd name="connsiteX12" fmla="*/ 173473 w 3459843"/>
              <a:gd name="connsiteY12" fmla="*/ 3210121 h 3517549"/>
              <a:gd name="connsiteX0" fmla="*/ 173473 w 2981836"/>
              <a:gd name="connsiteY0" fmla="*/ 3210121 h 3517549"/>
              <a:gd name="connsiteX1" fmla="*/ 462949 w 2981836"/>
              <a:gd name="connsiteY1" fmla="*/ 3475881 h 3517549"/>
              <a:gd name="connsiteX2" fmla="*/ 1006076 w 2981836"/>
              <a:gd name="connsiteY2" fmla="*/ 3460128 h 3517549"/>
              <a:gd name="connsiteX3" fmla="*/ 1668913 w 2981836"/>
              <a:gd name="connsiteY3" fmla="*/ 3186400 h 3517549"/>
              <a:gd name="connsiteX4" fmla="*/ 2129134 w 2981836"/>
              <a:gd name="connsiteY4" fmla="*/ 2875723 h 3517549"/>
              <a:gd name="connsiteX5" fmla="*/ 2530474 w 2981836"/>
              <a:gd name="connsiteY5" fmla="*/ 2410478 h 3517549"/>
              <a:gd name="connsiteX6" fmla="*/ 2791434 w 2981836"/>
              <a:gd name="connsiteY6" fmla="*/ 1791741 h 3517549"/>
              <a:gd name="connsiteX7" fmla="*/ 2909548 w 2981836"/>
              <a:gd name="connsiteY7" fmla="*/ 1249156 h 3517549"/>
              <a:gd name="connsiteX8" fmla="*/ 2971730 w 2981836"/>
              <a:gd name="connsiteY8" fmla="*/ 565382 h 3517549"/>
              <a:gd name="connsiteX9" fmla="*/ 2970181 w 2981836"/>
              <a:gd name="connsiteY9" fmla="*/ 3284 h 3517549"/>
              <a:gd name="connsiteX10" fmla="*/ 271813 w 2981836"/>
              <a:gd name="connsiteY10" fmla="*/ 0 h 3517549"/>
              <a:gd name="connsiteX11" fmla="*/ 51703 w 2981836"/>
              <a:gd name="connsiteY11" fmla="*/ 1398216 h 3517549"/>
              <a:gd name="connsiteX12" fmla="*/ 173473 w 2981836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85554 w 3115687"/>
              <a:gd name="connsiteY11" fmla="*/ 1398216 h 3517549"/>
              <a:gd name="connsiteX12" fmla="*/ 307324 w 3115687"/>
              <a:gd name="connsiteY12" fmla="*/ 3210121 h 3517549"/>
              <a:gd name="connsiteX0" fmla="*/ 713829 w 3522192"/>
              <a:gd name="connsiteY0" fmla="*/ 3210121 h 3517549"/>
              <a:gd name="connsiteX1" fmla="*/ 1003305 w 3522192"/>
              <a:gd name="connsiteY1" fmla="*/ 3475881 h 3517549"/>
              <a:gd name="connsiteX2" fmla="*/ 1546432 w 3522192"/>
              <a:gd name="connsiteY2" fmla="*/ 3460128 h 3517549"/>
              <a:gd name="connsiteX3" fmla="*/ 2209269 w 3522192"/>
              <a:gd name="connsiteY3" fmla="*/ 3186400 h 3517549"/>
              <a:gd name="connsiteX4" fmla="*/ 2669490 w 3522192"/>
              <a:gd name="connsiteY4" fmla="*/ 2875723 h 3517549"/>
              <a:gd name="connsiteX5" fmla="*/ 3070830 w 3522192"/>
              <a:gd name="connsiteY5" fmla="*/ 2410478 h 3517549"/>
              <a:gd name="connsiteX6" fmla="*/ 3331790 w 3522192"/>
              <a:gd name="connsiteY6" fmla="*/ 1791741 h 3517549"/>
              <a:gd name="connsiteX7" fmla="*/ 3449904 w 3522192"/>
              <a:gd name="connsiteY7" fmla="*/ 1249156 h 3517549"/>
              <a:gd name="connsiteX8" fmla="*/ 3512086 w 3522192"/>
              <a:gd name="connsiteY8" fmla="*/ 565382 h 3517549"/>
              <a:gd name="connsiteX9" fmla="*/ 3510537 w 3522192"/>
              <a:gd name="connsiteY9" fmla="*/ 3284 h 3517549"/>
              <a:gd name="connsiteX10" fmla="*/ 562775 w 3522192"/>
              <a:gd name="connsiteY10" fmla="*/ 0 h 3517549"/>
              <a:gd name="connsiteX11" fmla="*/ 51703 w 3522192"/>
              <a:gd name="connsiteY11" fmla="*/ 1398216 h 3517549"/>
              <a:gd name="connsiteX12" fmla="*/ 713829 w 3522192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443652 w 3252015"/>
              <a:gd name="connsiteY0" fmla="*/ 3210121 h 3517549"/>
              <a:gd name="connsiteX1" fmla="*/ 733128 w 3252015"/>
              <a:gd name="connsiteY1" fmla="*/ 3475881 h 3517549"/>
              <a:gd name="connsiteX2" fmla="*/ 1276255 w 3252015"/>
              <a:gd name="connsiteY2" fmla="*/ 3460128 h 3517549"/>
              <a:gd name="connsiteX3" fmla="*/ 1939092 w 3252015"/>
              <a:gd name="connsiteY3" fmla="*/ 3186400 h 3517549"/>
              <a:gd name="connsiteX4" fmla="*/ 2399313 w 3252015"/>
              <a:gd name="connsiteY4" fmla="*/ 2875723 h 3517549"/>
              <a:gd name="connsiteX5" fmla="*/ 2800653 w 3252015"/>
              <a:gd name="connsiteY5" fmla="*/ 2410478 h 3517549"/>
              <a:gd name="connsiteX6" fmla="*/ 3061613 w 3252015"/>
              <a:gd name="connsiteY6" fmla="*/ 1791741 h 3517549"/>
              <a:gd name="connsiteX7" fmla="*/ 3179727 w 3252015"/>
              <a:gd name="connsiteY7" fmla="*/ 1249156 h 3517549"/>
              <a:gd name="connsiteX8" fmla="*/ 3241909 w 3252015"/>
              <a:gd name="connsiteY8" fmla="*/ 565382 h 3517549"/>
              <a:gd name="connsiteX9" fmla="*/ 3240360 w 3252015"/>
              <a:gd name="connsiteY9" fmla="*/ 3284 h 3517549"/>
              <a:gd name="connsiteX10" fmla="*/ 292598 w 3252015"/>
              <a:gd name="connsiteY10" fmla="*/ 0 h 3517549"/>
              <a:gd name="connsiteX11" fmla="*/ 51703 w 3252015"/>
              <a:gd name="connsiteY11" fmla="*/ 1398216 h 3517549"/>
              <a:gd name="connsiteX12" fmla="*/ 443652 w 3252015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95161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438080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126335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531074 w 3339437"/>
              <a:gd name="connsiteY0" fmla="*/ 3210121 h 3517549"/>
              <a:gd name="connsiteX1" fmla="*/ 820550 w 3339437"/>
              <a:gd name="connsiteY1" fmla="*/ 3475881 h 3517549"/>
              <a:gd name="connsiteX2" fmla="*/ 1363677 w 3339437"/>
              <a:gd name="connsiteY2" fmla="*/ 3460128 h 3517549"/>
              <a:gd name="connsiteX3" fmla="*/ 2026514 w 3339437"/>
              <a:gd name="connsiteY3" fmla="*/ 3186400 h 3517549"/>
              <a:gd name="connsiteX4" fmla="*/ 2486735 w 3339437"/>
              <a:gd name="connsiteY4" fmla="*/ 2875723 h 3517549"/>
              <a:gd name="connsiteX5" fmla="*/ 2888075 w 3339437"/>
              <a:gd name="connsiteY5" fmla="*/ 2410478 h 3517549"/>
              <a:gd name="connsiteX6" fmla="*/ 3149035 w 3339437"/>
              <a:gd name="connsiteY6" fmla="*/ 1791741 h 3517549"/>
              <a:gd name="connsiteX7" fmla="*/ 3267149 w 3339437"/>
              <a:gd name="connsiteY7" fmla="*/ 1249156 h 3517549"/>
              <a:gd name="connsiteX8" fmla="*/ 3329331 w 3339437"/>
              <a:gd name="connsiteY8" fmla="*/ 565382 h 3517549"/>
              <a:gd name="connsiteX9" fmla="*/ 3327782 w 3339437"/>
              <a:gd name="connsiteY9" fmla="*/ 3284 h 3517549"/>
              <a:gd name="connsiteX10" fmla="*/ 41961 w 3339437"/>
              <a:gd name="connsiteY10" fmla="*/ 0 h 3517549"/>
              <a:gd name="connsiteX11" fmla="*/ 336562 w 3339437"/>
              <a:gd name="connsiteY11" fmla="*/ 1398216 h 3517549"/>
              <a:gd name="connsiteX12" fmla="*/ 531074 w 3339437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59203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34461 w 3037336"/>
              <a:gd name="connsiteY0" fmla="*/ 1398216 h 3819531"/>
              <a:gd name="connsiteX1" fmla="*/ 518449 w 3037336"/>
              <a:gd name="connsiteY1" fmla="*/ 3475881 h 3819531"/>
              <a:gd name="connsiteX2" fmla="*/ 1061576 w 3037336"/>
              <a:gd name="connsiteY2" fmla="*/ 3460128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061580 w 3037340"/>
              <a:gd name="connsiteY2" fmla="*/ 3460128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34461 w 3037336"/>
              <a:gd name="connsiteY0" fmla="*/ 1398216 h 3959956"/>
              <a:gd name="connsiteX1" fmla="*/ 518449 w 3037336"/>
              <a:gd name="connsiteY1" fmla="*/ 3475881 h 3959956"/>
              <a:gd name="connsiteX2" fmla="*/ 1061576 w 3037336"/>
              <a:gd name="connsiteY2" fmla="*/ 3911707 h 3959956"/>
              <a:gd name="connsiteX3" fmla="*/ 1724413 w 3037336"/>
              <a:gd name="connsiteY3" fmla="*/ 3186400 h 3959956"/>
              <a:gd name="connsiteX4" fmla="*/ 2184634 w 3037336"/>
              <a:gd name="connsiteY4" fmla="*/ 2875723 h 3959956"/>
              <a:gd name="connsiteX5" fmla="*/ 2585974 w 3037336"/>
              <a:gd name="connsiteY5" fmla="*/ 2410478 h 3959956"/>
              <a:gd name="connsiteX6" fmla="*/ 2846934 w 3037336"/>
              <a:gd name="connsiteY6" fmla="*/ 1791741 h 3959956"/>
              <a:gd name="connsiteX7" fmla="*/ 2965048 w 3037336"/>
              <a:gd name="connsiteY7" fmla="*/ 1249156 h 3959956"/>
              <a:gd name="connsiteX8" fmla="*/ 3027230 w 3037336"/>
              <a:gd name="connsiteY8" fmla="*/ 565382 h 3959956"/>
              <a:gd name="connsiteX9" fmla="*/ 3025681 w 3037336"/>
              <a:gd name="connsiteY9" fmla="*/ 3284 h 3959956"/>
              <a:gd name="connsiteX10" fmla="*/ 41961 w 3037336"/>
              <a:gd name="connsiteY10" fmla="*/ 0 h 3959956"/>
              <a:gd name="connsiteX11" fmla="*/ 34461 w 3037336"/>
              <a:gd name="connsiteY11" fmla="*/ 1398216 h 3959956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279762 w 3037340"/>
              <a:gd name="connsiteY2" fmla="*/ 3531433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140355 w 3143230"/>
              <a:gd name="connsiteY0" fmla="*/ 1398216 h 3819531"/>
              <a:gd name="connsiteX1" fmla="*/ 305455 w 3143230"/>
              <a:gd name="connsiteY1" fmla="*/ 3475879 h 3819531"/>
              <a:gd name="connsiteX2" fmla="*/ 1385652 w 3143230"/>
              <a:gd name="connsiteY2" fmla="*/ 3531433 h 3819531"/>
              <a:gd name="connsiteX3" fmla="*/ 1830307 w 3143230"/>
              <a:gd name="connsiteY3" fmla="*/ 3186400 h 3819531"/>
              <a:gd name="connsiteX4" fmla="*/ 2290528 w 3143230"/>
              <a:gd name="connsiteY4" fmla="*/ 2875723 h 3819531"/>
              <a:gd name="connsiteX5" fmla="*/ 2691868 w 3143230"/>
              <a:gd name="connsiteY5" fmla="*/ 2410478 h 3819531"/>
              <a:gd name="connsiteX6" fmla="*/ 2952828 w 3143230"/>
              <a:gd name="connsiteY6" fmla="*/ 1791741 h 3819531"/>
              <a:gd name="connsiteX7" fmla="*/ 3070942 w 3143230"/>
              <a:gd name="connsiteY7" fmla="*/ 1249156 h 3819531"/>
              <a:gd name="connsiteX8" fmla="*/ 3133124 w 3143230"/>
              <a:gd name="connsiteY8" fmla="*/ 565382 h 3819531"/>
              <a:gd name="connsiteX9" fmla="*/ 3131575 w 3143230"/>
              <a:gd name="connsiteY9" fmla="*/ 3284 h 3819531"/>
              <a:gd name="connsiteX10" fmla="*/ 147855 w 3143230"/>
              <a:gd name="connsiteY10" fmla="*/ 0 h 3819531"/>
              <a:gd name="connsiteX11" fmla="*/ 140355 w 3143230"/>
              <a:gd name="connsiteY11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184638 w 3037340"/>
              <a:gd name="connsiteY3" fmla="*/ 2875723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587435 w 3037336"/>
              <a:gd name="connsiteY3" fmla="*/ 3612503 h 3819531"/>
              <a:gd name="connsiteX4" fmla="*/ 2585974 w 3037336"/>
              <a:gd name="connsiteY4" fmla="*/ 2410478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787377 w 3037340"/>
              <a:gd name="connsiteY4" fmla="*/ 2410480 h 3819531"/>
              <a:gd name="connsiteX5" fmla="*/ 2965052 w 3037340"/>
              <a:gd name="connsiteY5" fmla="*/ 1249156 h 3819531"/>
              <a:gd name="connsiteX6" fmla="*/ 3027234 w 3037340"/>
              <a:gd name="connsiteY6" fmla="*/ 565382 h 3819531"/>
              <a:gd name="connsiteX7" fmla="*/ 3025685 w 3037340"/>
              <a:gd name="connsiteY7" fmla="*/ 3284 h 3819531"/>
              <a:gd name="connsiteX8" fmla="*/ 41965 w 3037340"/>
              <a:gd name="connsiteY8" fmla="*/ 0 h 3819531"/>
              <a:gd name="connsiteX9" fmla="*/ 34465 w 3037340"/>
              <a:gd name="connsiteY9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965050 w 3037336"/>
              <a:gd name="connsiteY5" fmla="*/ 2009709 h 3819531"/>
              <a:gd name="connsiteX6" fmla="*/ 3027230 w 3037336"/>
              <a:gd name="connsiteY6" fmla="*/ 565382 h 3819531"/>
              <a:gd name="connsiteX7" fmla="*/ 3025681 w 3037336"/>
              <a:gd name="connsiteY7" fmla="*/ 3284 h 3819531"/>
              <a:gd name="connsiteX8" fmla="*/ 41961 w 3037336"/>
              <a:gd name="connsiteY8" fmla="*/ 0 h 3819531"/>
              <a:gd name="connsiteX9" fmla="*/ 34461 w 3037336"/>
              <a:gd name="connsiteY9" fmla="*/ 1398216 h 3819531"/>
              <a:gd name="connsiteX0" fmla="*/ 34465 w 3357480"/>
              <a:gd name="connsiteY0" fmla="*/ 1398216 h 3819531"/>
              <a:gd name="connsiteX1" fmla="*/ 468098 w 3357480"/>
              <a:gd name="connsiteY1" fmla="*/ 3475879 h 3819531"/>
              <a:gd name="connsiteX2" fmla="*/ 1279762 w 3357480"/>
              <a:gd name="connsiteY2" fmla="*/ 3531433 h 3819531"/>
              <a:gd name="connsiteX3" fmla="*/ 2302125 w 3357480"/>
              <a:gd name="connsiteY3" fmla="*/ 2899486 h 3819531"/>
              <a:gd name="connsiteX4" fmla="*/ 2787377 w 3357480"/>
              <a:gd name="connsiteY4" fmla="*/ 2410480 h 3819531"/>
              <a:gd name="connsiteX5" fmla="*/ 3317505 w 3357480"/>
              <a:gd name="connsiteY5" fmla="*/ 2009709 h 3819531"/>
              <a:gd name="connsiteX6" fmla="*/ 3027234 w 3357480"/>
              <a:gd name="connsiteY6" fmla="*/ 565382 h 3819531"/>
              <a:gd name="connsiteX7" fmla="*/ 3025685 w 3357480"/>
              <a:gd name="connsiteY7" fmla="*/ 3284 h 3819531"/>
              <a:gd name="connsiteX8" fmla="*/ 41965 w 3357480"/>
              <a:gd name="connsiteY8" fmla="*/ 0 h 3819531"/>
              <a:gd name="connsiteX9" fmla="*/ 34465 w 3357480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065750"/>
              <a:gd name="connsiteY0" fmla="*/ 1398216 h 3819531"/>
              <a:gd name="connsiteX1" fmla="*/ 468094 w 3065750"/>
              <a:gd name="connsiteY1" fmla="*/ 3475879 h 3819531"/>
              <a:gd name="connsiteX2" fmla="*/ 1279758 w 3065750"/>
              <a:gd name="connsiteY2" fmla="*/ 3531433 h 3819531"/>
              <a:gd name="connsiteX3" fmla="*/ 2302121 w 3065750"/>
              <a:gd name="connsiteY3" fmla="*/ 2899486 h 3819531"/>
              <a:gd name="connsiteX4" fmla="*/ 2787373 w 3065750"/>
              <a:gd name="connsiteY4" fmla="*/ 2410480 h 3819531"/>
              <a:gd name="connsiteX5" fmla="*/ 3065750 w 3065750"/>
              <a:gd name="connsiteY5" fmla="*/ 2009709 h 3819531"/>
              <a:gd name="connsiteX6" fmla="*/ 3027230 w 3065750"/>
              <a:gd name="connsiteY6" fmla="*/ 565382 h 3819531"/>
              <a:gd name="connsiteX7" fmla="*/ 3025681 w 3065750"/>
              <a:gd name="connsiteY7" fmla="*/ 3284 h 3819531"/>
              <a:gd name="connsiteX8" fmla="*/ 41961 w 3065750"/>
              <a:gd name="connsiteY8" fmla="*/ 0 h 3819531"/>
              <a:gd name="connsiteX9" fmla="*/ 34461 w 3065750"/>
              <a:gd name="connsiteY9" fmla="*/ 1398216 h 3819531"/>
              <a:gd name="connsiteX0" fmla="*/ 34465 w 3065754"/>
              <a:gd name="connsiteY0" fmla="*/ 1398216 h 3819531"/>
              <a:gd name="connsiteX1" fmla="*/ 468098 w 3065754"/>
              <a:gd name="connsiteY1" fmla="*/ 3475879 h 3819531"/>
              <a:gd name="connsiteX2" fmla="*/ 1279762 w 3065754"/>
              <a:gd name="connsiteY2" fmla="*/ 3531433 h 3819531"/>
              <a:gd name="connsiteX3" fmla="*/ 2302125 w 3065754"/>
              <a:gd name="connsiteY3" fmla="*/ 2899486 h 3819531"/>
              <a:gd name="connsiteX4" fmla="*/ 2787377 w 3065754"/>
              <a:gd name="connsiteY4" fmla="*/ 2410480 h 3819531"/>
              <a:gd name="connsiteX5" fmla="*/ 3065754 w 3065754"/>
              <a:gd name="connsiteY5" fmla="*/ 2009709 h 3819531"/>
              <a:gd name="connsiteX6" fmla="*/ 3027234 w 3065754"/>
              <a:gd name="connsiteY6" fmla="*/ 565382 h 3819531"/>
              <a:gd name="connsiteX7" fmla="*/ 3025685 w 3065754"/>
              <a:gd name="connsiteY7" fmla="*/ 3284 h 3819531"/>
              <a:gd name="connsiteX8" fmla="*/ 41965 w 3065754"/>
              <a:gd name="connsiteY8" fmla="*/ 0 h 3819531"/>
              <a:gd name="connsiteX9" fmla="*/ 34465 w 3065754"/>
              <a:gd name="connsiteY9" fmla="*/ 1398216 h 3819531"/>
              <a:gd name="connsiteX0" fmla="*/ 34461 w 3529646"/>
              <a:gd name="connsiteY0" fmla="*/ 1398216 h 3819531"/>
              <a:gd name="connsiteX1" fmla="*/ 468094 w 3529646"/>
              <a:gd name="connsiteY1" fmla="*/ 3475879 h 3819531"/>
              <a:gd name="connsiteX2" fmla="*/ 1279758 w 3529646"/>
              <a:gd name="connsiteY2" fmla="*/ 3531433 h 3819531"/>
              <a:gd name="connsiteX3" fmla="*/ 2302121 w 3529646"/>
              <a:gd name="connsiteY3" fmla="*/ 2899486 h 3819531"/>
              <a:gd name="connsiteX4" fmla="*/ 2787373 w 3529646"/>
              <a:gd name="connsiteY4" fmla="*/ 2410480 h 3819531"/>
              <a:gd name="connsiteX5" fmla="*/ 3065750 w 3529646"/>
              <a:gd name="connsiteY5" fmla="*/ 2009709 h 3819531"/>
              <a:gd name="connsiteX6" fmla="*/ 3025681 w 3529646"/>
              <a:gd name="connsiteY6" fmla="*/ 3284 h 3819531"/>
              <a:gd name="connsiteX7" fmla="*/ 41961 w 3529646"/>
              <a:gd name="connsiteY7" fmla="*/ 0 h 3819531"/>
              <a:gd name="connsiteX8" fmla="*/ 34461 w 3529646"/>
              <a:gd name="connsiteY8" fmla="*/ 1398216 h 3819531"/>
              <a:gd name="connsiteX0" fmla="*/ 34465 w 3105472"/>
              <a:gd name="connsiteY0" fmla="*/ 1398216 h 3819531"/>
              <a:gd name="connsiteX1" fmla="*/ 468098 w 3105472"/>
              <a:gd name="connsiteY1" fmla="*/ 3475879 h 3819531"/>
              <a:gd name="connsiteX2" fmla="*/ 1279762 w 3105472"/>
              <a:gd name="connsiteY2" fmla="*/ 3531433 h 3819531"/>
              <a:gd name="connsiteX3" fmla="*/ 2302125 w 3105472"/>
              <a:gd name="connsiteY3" fmla="*/ 2899486 h 3819531"/>
              <a:gd name="connsiteX4" fmla="*/ 2787377 w 3105472"/>
              <a:gd name="connsiteY4" fmla="*/ 2410480 h 3819531"/>
              <a:gd name="connsiteX5" fmla="*/ 3065754 w 3105472"/>
              <a:gd name="connsiteY5" fmla="*/ 2009709 h 3819531"/>
              <a:gd name="connsiteX6" fmla="*/ 3025685 w 3105472"/>
              <a:gd name="connsiteY6" fmla="*/ 3284 h 3819531"/>
              <a:gd name="connsiteX7" fmla="*/ 41965 w 3105472"/>
              <a:gd name="connsiteY7" fmla="*/ 0 h 3819531"/>
              <a:gd name="connsiteX8" fmla="*/ 34465 w 3105472"/>
              <a:gd name="connsiteY8" fmla="*/ 1398216 h 3819531"/>
              <a:gd name="connsiteX0" fmla="*/ 34461 w 3546432"/>
              <a:gd name="connsiteY0" fmla="*/ 1442468 h 3863783"/>
              <a:gd name="connsiteX1" fmla="*/ 468094 w 3546432"/>
              <a:gd name="connsiteY1" fmla="*/ 3520131 h 3863783"/>
              <a:gd name="connsiteX2" fmla="*/ 1279758 w 3546432"/>
              <a:gd name="connsiteY2" fmla="*/ 3575685 h 3863783"/>
              <a:gd name="connsiteX3" fmla="*/ 2302121 w 3546432"/>
              <a:gd name="connsiteY3" fmla="*/ 2943738 h 3863783"/>
              <a:gd name="connsiteX4" fmla="*/ 2787373 w 3546432"/>
              <a:gd name="connsiteY4" fmla="*/ 2454732 h 3863783"/>
              <a:gd name="connsiteX5" fmla="*/ 3065750 w 3546432"/>
              <a:gd name="connsiteY5" fmla="*/ 2053961 h 3863783"/>
              <a:gd name="connsiteX6" fmla="*/ 3478832 w 3546432"/>
              <a:gd name="connsiteY6" fmla="*/ 0 h 3863783"/>
              <a:gd name="connsiteX7" fmla="*/ 41961 w 3546432"/>
              <a:gd name="connsiteY7" fmla="*/ 44252 h 3863783"/>
              <a:gd name="connsiteX8" fmla="*/ 34461 w 3546432"/>
              <a:gd name="connsiteY8" fmla="*/ 1442468 h 3863783"/>
              <a:gd name="connsiteX0" fmla="*/ 34465 w 3479304"/>
              <a:gd name="connsiteY0" fmla="*/ 1442468 h 3863783"/>
              <a:gd name="connsiteX1" fmla="*/ 468098 w 3479304"/>
              <a:gd name="connsiteY1" fmla="*/ 3520131 h 3863783"/>
              <a:gd name="connsiteX2" fmla="*/ 1279762 w 3479304"/>
              <a:gd name="connsiteY2" fmla="*/ 3575685 h 3863783"/>
              <a:gd name="connsiteX3" fmla="*/ 2302125 w 3479304"/>
              <a:gd name="connsiteY3" fmla="*/ 2943738 h 3863783"/>
              <a:gd name="connsiteX4" fmla="*/ 2787377 w 3479304"/>
              <a:gd name="connsiteY4" fmla="*/ 2454732 h 3863783"/>
              <a:gd name="connsiteX5" fmla="*/ 3065754 w 3479304"/>
              <a:gd name="connsiteY5" fmla="*/ 2053961 h 3863783"/>
              <a:gd name="connsiteX6" fmla="*/ 3478836 w 3479304"/>
              <a:gd name="connsiteY6" fmla="*/ 0 h 3863783"/>
              <a:gd name="connsiteX7" fmla="*/ 41965 w 3479304"/>
              <a:gd name="connsiteY7" fmla="*/ 44252 h 3863783"/>
              <a:gd name="connsiteX8" fmla="*/ 34465 w 3479304"/>
              <a:gd name="connsiteY8" fmla="*/ 1442468 h 3863783"/>
              <a:gd name="connsiteX0" fmla="*/ 34461 w 3105468"/>
              <a:gd name="connsiteY0" fmla="*/ 1442468 h 3863783"/>
              <a:gd name="connsiteX1" fmla="*/ 468094 w 3105468"/>
              <a:gd name="connsiteY1" fmla="*/ 3520131 h 3863783"/>
              <a:gd name="connsiteX2" fmla="*/ 1279758 w 3105468"/>
              <a:gd name="connsiteY2" fmla="*/ 3575685 h 3863783"/>
              <a:gd name="connsiteX3" fmla="*/ 2302121 w 3105468"/>
              <a:gd name="connsiteY3" fmla="*/ 2943738 h 3863783"/>
              <a:gd name="connsiteX4" fmla="*/ 2787373 w 3105468"/>
              <a:gd name="connsiteY4" fmla="*/ 2454732 h 3863783"/>
              <a:gd name="connsiteX5" fmla="*/ 3065750 w 3105468"/>
              <a:gd name="connsiteY5" fmla="*/ 2053961 h 3863783"/>
              <a:gd name="connsiteX6" fmla="*/ 3092817 w 3105468"/>
              <a:gd name="connsiteY6" fmla="*/ 0 h 3863783"/>
              <a:gd name="connsiteX7" fmla="*/ 41961 w 3105468"/>
              <a:gd name="connsiteY7" fmla="*/ 44252 h 3863783"/>
              <a:gd name="connsiteX8" fmla="*/ 34461 w 3105468"/>
              <a:gd name="connsiteY8" fmla="*/ 1442468 h 3863783"/>
              <a:gd name="connsiteX0" fmla="*/ 375324 w 3446331"/>
              <a:gd name="connsiteY0" fmla="*/ 1442468 h 4814470"/>
              <a:gd name="connsiteX1" fmla="*/ 305455 w 3446331"/>
              <a:gd name="connsiteY1" fmla="*/ 4470819 h 4814470"/>
              <a:gd name="connsiteX2" fmla="*/ 1620621 w 3446331"/>
              <a:gd name="connsiteY2" fmla="*/ 3575685 h 4814470"/>
              <a:gd name="connsiteX3" fmla="*/ 2642984 w 3446331"/>
              <a:gd name="connsiteY3" fmla="*/ 2943738 h 4814470"/>
              <a:gd name="connsiteX4" fmla="*/ 3128236 w 3446331"/>
              <a:gd name="connsiteY4" fmla="*/ 2454732 h 4814470"/>
              <a:gd name="connsiteX5" fmla="*/ 3406613 w 3446331"/>
              <a:gd name="connsiteY5" fmla="*/ 2053961 h 4814470"/>
              <a:gd name="connsiteX6" fmla="*/ 3433680 w 3446331"/>
              <a:gd name="connsiteY6" fmla="*/ 0 h 4814470"/>
              <a:gd name="connsiteX7" fmla="*/ 382824 w 3446331"/>
              <a:gd name="connsiteY7" fmla="*/ 44252 h 4814470"/>
              <a:gd name="connsiteX8" fmla="*/ 375324 w 3446331"/>
              <a:gd name="connsiteY8" fmla="*/ 1442468 h 4814470"/>
              <a:gd name="connsiteX0" fmla="*/ 34461 w 3105468"/>
              <a:gd name="connsiteY0" fmla="*/ 1442468 h 3624215"/>
              <a:gd name="connsiteX1" fmla="*/ 384180 w 3105468"/>
              <a:gd name="connsiteY1" fmla="*/ 3234924 h 3624215"/>
              <a:gd name="connsiteX2" fmla="*/ 1279758 w 3105468"/>
              <a:gd name="connsiteY2" fmla="*/ 3575685 h 3624215"/>
              <a:gd name="connsiteX3" fmla="*/ 2302121 w 3105468"/>
              <a:gd name="connsiteY3" fmla="*/ 2943738 h 3624215"/>
              <a:gd name="connsiteX4" fmla="*/ 2787373 w 3105468"/>
              <a:gd name="connsiteY4" fmla="*/ 2454732 h 3624215"/>
              <a:gd name="connsiteX5" fmla="*/ 3065750 w 3105468"/>
              <a:gd name="connsiteY5" fmla="*/ 2053961 h 3624215"/>
              <a:gd name="connsiteX6" fmla="*/ 3092817 w 3105468"/>
              <a:gd name="connsiteY6" fmla="*/ 0 h 3624215"/>
              <a:gd name="connsiteX7" fmla="*/ 41961 w 3105468"/>
              <a:gd name="connsiteY7" fmla="*/ 44252 h 3624215"/>
              <a:gd name="connsiteX8" fmla="*/ 34461 w 3105468"/>
              <a:gd name="connsiteY8" fmla="*/ 1442468 h 3624215"/>
              <a:gd name="connsiteX0" fmla="*/ 34465 w 3105472"/>
              <a:gd name="connsiteY0" fmla="*/ 1442468 h 4907646"/>
              <a:gd name="connsiteX1" fmla="*/ 384184 w 3105472"/>
              <a:gd name="connsiteY1" fmla="*/ 3234924 h 4907646"/>
              <a:gd name="connsiteX2" fmla="*/ 1279763 w 3105472"/>
              <a:gd name="connsiteY2" fmla="*/ 4859116 h 4907646"/>
              <a:gd name="connsiteX3" fmla="*/ 2302125 w 3105472"/>
              <a:gd name="connsiteY3" fmla="*/ 2943738 h 4907646"/>
              <a:gd name="connsiteX4" fmla="*/ 2787377 w 3105472"/>
              <a:gd name="connsiteY4" fmla="*/ 2454732 h 4907646"/>
              <a:gd name="connsiteX5" fmla="*/ 3065754 w 3105472"/>
              <a:gd name="connsiteY5" fmla="*/ 2053961 h 4907646"/>
              <a:gd name="connsiteX6" fmla="*/ 3092821 w 3105472"/>
              <a:gd name="connsiteY6" fmla="*/ 0 h 4907646"/>
              <a:gd name="connsiteX7" fmla="*/ 41965 w 3105472"/>
              <a:gd name="connsiteY7" fmla="*/ 44252 h 4907646"/>
              <a:gd name="connsiteX8" fmla="*/ 34465 w 3105472"/>
              <a:gd name="connsiteY8" fmla="*/ 1442468 h 4907646"/>
              <a:gd name="connsiteX0" fmla="*/ 34461 w 3105468"/>
              <a:gd name="connsiteY0" fmla="*/ 1442468 h 3671746"/>
              <a:gd name="connsiteX1" fmla="*/ 384180 w 3105468"/>
              <a:gd name="connsiteY1" fmla="*/ 3234924 h 3671746"/>
              <a:gd name="connsiteX2" fmla="*/ 1044790 w 3105468"/>
              <a:gd name="connsiteY2" fmla="*/ 3623216 h 3671746"/>
              <a:gd name="connsiteX3" fmla="*/ 2302121 w 3105468"/>
              <a:gd name="connsiteY3" fmla="*/ 2943738 h 3671746"/>
              <a:gd name="connsiteX4" fmla="*/ 2787373 w 3105468"/>
              <a:gd name="connsiteY4" fmla="*/ 2454732 h 3671746"/>
              <a:gd name="connsiteX5" fmla="*/ 3065750 w 3105468"/>
              <a:gd name="connsiteY5" fmla="*/ 2053961 h 3671746"/>
              <a:gd name="connsiteX6" fmla="*/ 3092817 w 3105468"/>
              <a:gd name="connsiteY6" fmla="*/ 0 h 3671746"/>
              <a:gd name="connsiteX7" fmla="*/ 41961 w 3105468"/>
              <a:gd name="connsiteY7" fmla="*/ 44252 h 3671746"/>
              <a:gd name="connsiteX8" fmla="*/ 34461 w 3105468"/>
              <a:gd name="connsiteY8" fmla="*/ 1442468 h 3671746"/>
              <a:gd name="connsiteX0" fmla="*/ 677421 w 3748428"/>
              <a:gd name="connsiteY0" fmla="*/ 1442468 h 4576800"/>
              <a:gd name="connsiteX1" fmla="*/ 305455 w 3748428"/>
              <a:gd name="connsiteY1" fmla="*/ 4233149 h 4576800"/>
              <a:gd name="connsiteX2" fmla="*/ 1687750 w 3748428"/>
              <a:gd name="connsiteY2" fmla="*/ 3623216 h 4576800"/>
              <a:gd name="connsiteX3" fmla="*/ 2945081 w 3748428"/>
              <a:gd name="connsiteY3" fmla="*/ 2943738 h 4576800"/>
              <a:gd name="connsiteX4" fmla="*/ 3430333 w 3748428"/>
              <a:gd name="connsiteY4" fmla="*/ 2454732 h 4576800"/>
              <a:gd name="connsiteX5" fmla="*/ 3708710 w 3748428"/>
              <a:gd name="connsiteY5" fmla="*/ 2053961 h 4576800"/>
              <a:gd name="connsiteX6" fmla="*/ 3735777 w 3748428"/>
              <a:gd name="connsiteY6" fmla="*/ 0 h 4576800"/>
              <a:gd name="connsiteX7" fmla="*/ 684921 w 3748428"/>
              <a:gd name="connsiteY7" fmla="*/ 44252 h 4576800"/>
              <a:gd name="connsiteX8" fmla="*/ 677421 w 3748428"/>
              <a:gd name="connsiteY8" fmla="*/ 1442468 h 4576800"/>
              <a:gd name="connsiteX0" fmla="*/ 34461 w 3105468"/>
              <a:gd name="connsiteY0" fmla="*/ 1442468 h 3667788"/>
              <a:gd name="connsiteX1" fmla="*/ 333829 w 3105468"/>
              <a:gd name="connsiteY1" fmla="*/ 3211159 h 3667788"/>
              <a:gd name="connsiteX2" fmla="*/ 1044790 w 3105468"/>
              <a:gd name="connsiteY2" fmla="*/ 3623216 h 3667788"/>
              <a:gd name="connsiteX3" fmla="*/ 2302121 w 3105468"/>
              <a:gd name="connsiteY3" fmla="*/ 2943738 h 3667788"/>
              <a:gd name="connsiteX4" fmla="*/ 2787373 w 3105468"/>
              <a:gd name="connsiteY4" fmla="*/ 2454732 h 3667788"/>
              <a:gd name="connsiteX5" fmla="*/ 3065750 w 3105468"/>
              <a:gd name="connsiteY5" fmla="*/ 2053961 h 3667788"/>
              <a:gd name="connsiteX6" fmla="*/ 3092817 w 3105468"/>
              <a:gd name="connsiteY6" fmla="*/ 0 h 3667788"/>
              <a:gd name="connsiteX7" fmla="*/ 41961 w 3105468"/>
              <a:gd name="connsiteY7" fmla="*/ 44252 h 3667788"/>
              <a:gd name="connsiteX8" fmla="*/ 34461 w 3105468"/>
              <a:gd name="connsiteY8" fmla="*/ 1442468 h 3667788"/>
              <a:gd name="connsiteX0" fmla="*/ 34465 w 3105472"/>
              <a:gd name="connsiteY0" fmla="*/ 1442468 h 3994108"/>
              <a:gd name="connsiteX1" fmla="*/ 333833 w 3105472"/>
              <a:gd name="connsiteY1" fmla="*/ 3211159 h 3994108"/>
              <a:gd name="connsiteX2" fmla="*/ 1044794 w 3105472"/>
              <a:gd name="connsiteY2" fmla="*/ 3623216 h 3994108"/>
              <a:gd name="connsiteX3" fmla="*/ 2302125 w 3105472"/>
              <a:gd name="connsiteY3" fmla="*/ 3799359 h 3994108"/>
              <a:gd name="connsiteX4" fmla="*/ 2787377 w 3105472"/>
              <a:gd name="connsiteY4" fmla="*/ 2454732 h 3994108"/>
              <a:gd name="connsiteX5" fmla="*/ 3065754 w 3105472"/>
              <a:gd name="connsiteY5" fmla="*/ 2053961 h 3994108"/>
              <a:gd name="connsiteX6" fmla="*/ 3092821 w 3105472"/>
              <a:gd name="connsiteY6" fmla="*/ 0 h 3994108"/>
              <a:gd name="connsiteX7" fmla="*/ 41965 w 3105472"/>
              <a:gd name="connsiteY7" fmla="*/ 44252 h 3994108"/>
              <a:gd name="connsiteX8" fmla="*/ 34465 w 3105472"/>
              <a:gd name="connsiteY8" fmla="*/ 1442468 h 3994108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44252 h 3636095"/>
              <a:gd name="connsiteX8" fmla="*/ 34461 w 3105468"/>
              <a:gd name="connsiteY8" fmla="*/ 1442468 h 3636095"/>
              <a:gd name="connsiteX0" fmla="*/ 34465 w 3105472"/>
              <a:gd name="connsiteY0" fmla="*/ 1683423 h 3877050"/>
              <a:gd name="connsiteX1" fmla="*/ 333833 w 3105472"/>
              <a:gd name="connsiteY1" fmla="*/ 3452114 h 3877050"/>
              <a:gd name="connsiteX2" fmla="*/ 1044794 w 3105472"/>
              <a:gd name="connsiteY2" fmla="*/ 3864171 h 3877050"/>
              <a:gd name="connsiteX3" fmla="*/ 2000024 w 3105472"/>
              <a:gd name="connsiteY3" fmla="*/ 3374833 h 3877050"/>
              <a:gd name="connsiteX4" fmla="*/ 2787377 w 3105472"/>
              <a:gd name="connsiteY4" fmla="*/ 2695687 h 3877050"/>
              <a:gd name="connsiteX5" fmla="*/ 3065754 w 3105472"/>
              <a:gd name="connsiteY5" fmla="*/ 2294916 h 3877050"/>
              <a:gd name="connsiteX6" fmla="*/ 3092821 w 3105472"/>
              <a:gd name="connsiteY6" fmla="*/ 240955 h 3877050"/>
              <a:gd name="connsiteX7" fmla="*/ 41965 w 3105472"/>
              <a:gd name="connsiteY7" fmla="*/ 0 h 3877050"/>
              <a:gd name="connsiteX8" fmla="*/ 34465 w 3105472"/>
              <a:gd name="connsiteY8" fmla="*/ 1683423 h 3877050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8601 h 3636095"/>
              <a:gd name="connsiteX8" fmla="*/ 34461 w 3105468"/>
              <a:gd name="connsiteY8" fmla="*/ 1442468 h 3636095"/>
              <a:gd name="connsiteX0" fmla="*/ 34465 w 3281698"/>
              <a:gd name="connsiteY0" fmla="*/ 1442468 h 3636095"/>
              <a:gd name="connsiteX1" fmla="*/ 333833 w 3281698"/>
              <a:gd name="connsiteY1" fmla="*/ 3211159 h 3636095"/>
              <a:gd name="connsiteX2" fmla="*/ 1044794 w 3281698"/>
              <a:gd name="connsiteY2" fmla="*/ 3623216 h 3636095"/>
              <a:gd name="connsiteX3" fmla="*/ 2000024 w 3281698"/>
              <a:gd name="connsiteY3" fmla="*/ 3133878 h 3636095"/>
              <a:gd name="connsiteX4" fmla="*/ 2787377 w 3281698"/>
              <a:gd name="connsiteY4" fmla="*/ 2454732 h 3636095"/>
              <a:gd name="connsiteX5" fmla="*/ 3241980 w 3281698"/>
              <a:gd name="connsiteY5" fmla="*/ 2053961 h 3636095"/>
              <a:gd name="connsiteX6" fmla="*/ 3092821 w 3281698"/>
              <a:gd name="connsiteY6" fmla="*/ 0 h 3636095"/>
              <a:gd name="connsiteX7" fmla="*/ 41965 w 3281698"/>
              <a:gd name="connsiteY7" fmla="*/ 8601 h 3636095"/>
              <a:gd name="connsiteX8" fmla="*/ 34465 w 3281698"/>
              <a:gd name="connsiteY8" fmla="*/ 1442468 h 3636095"/>
              <a:gd name="connsiteX0" fmla="*/ 34461 w 3241977"/>
              <a:gd name="connsiteY0" fmla="*/ 1442468 h 3636095"/>
              <a:gd name="connsiteX1" fmla="*/ 333829 w 3241977"/>
              <a:gd name="connsiteY1" fmla="*/ 3211159 h 3636095"/>
              <a:gd name="connsiteX2" fmla="*/ 1044790 w 3241977"/>
              <a:gd name="connsiteY2" fmla="*/ 3623216 h 3636095"/>
              <a:gd name="connsiteX3" fmla="*/ 2000020 w 3241977"/>
              <a:gd name="connsiteY3" fmla="*/ 3133878 h 3636095"/>
              <a:gd name="connsiteX4" fmla="*/ 2787373 w 3241977"/>
              <a:gd name="connsiteY4" fmla="*/ 2454732 h 3636095"/>
              <a:gd name="connsiteX5" fmla="*/ 3241976 w 3241977"/>
              <a:gd name="connsiteY5" fmla="*/ 2053961 h 3636095"/>
              <a:gd name="connsiteX6" fmla="*/ 3092817 w 3241977"/>
              <a:gd name="connsiteY6" fmla="*/ 0 h 3636095"/>
              <a:gd name="connsiteX7" fmla="*/ 41961 w 3241977"/>
              <a:gd name="connsiteY7" fmla="*/ 8601 h 3636095"/>
              <a:gd name="connsiteX8" fmla="*/ 34461 w 3241977"/>
              <a:gd name="connsiteY8" fmla="*/ 1442468 h 3636095"/>
              <a:gd name="connsiteX0" fmla="*/ 34465 w 3256523"/>
              <a:gd name="connsiteY0" fmla="*/ 1442468 h 3636095"/>
              <a:gd name="connsiteX1" fmla="*/ 333833 w 3256523"/>
              <a:gd name="connsiteY1" fmla="*/ 3211159 h 3636095"/>
              <a:gd name="connsiteX2" fmla="*/ 1044794 w 3256523"/>
              <a:gd name="connsiteY2" fmla="*/ 3623216 h 3636095"/>
              <a:gd name="connsiteX3" fmla="*/ 2000024 w 3256523"/>
              <a:gd name="connsiteY3" fmla="*/ 3133878 h 3636095"/>
              <a:gd name="connsiteX4" fmla="*/ 2787377 w 3256523"/>
              <a:gd name="connsiteY4" fmla="*/ 2454732 h 3636095"/>
              <a:gd name="connsiteX5" fmla="*/ 3241980 w 3256523"/>
              <a:gd name="connsiteY5" fmla="*/ 2053961 h 3636095"/>
              <a:gd name="connsiteX6" fmla="*/ 3092821 w 3256523"/>
              <a:gd name="connsiteY6" fmla="*/ 0 h 3636095"/>
              <a:gd name="connsiteX7" fmla="*/ 41965 w 3256523"/>
              <a:gd name="connsiteY7" fmla="*/ 8601 h 3636095"/>
              <a:gd name="connsiteX8" fmla="*/ 34465 w 3256523"/>
              <a:gd name="connsiteY8" fmla="*/ 1442468 h 3636095"/>
              <a:gd name="connsiteX0" fmla="*/ 34461 w 3093285"/>
              <a:gd name="connsiteY0" fmla="*/ 1442468 h 3636095"/>
              <a:gd name="connsiteX1" fmla="*/ 333829 w 3093285"/>
              <a:gd name="connsiteY1" fmla="*/ 3211159 h 3636095"/>
              <a:gd name="connsiteX2" fmla="*/ 1044790 w 3093285"/>
              <a:gd name="connsiteY2" fmla="*/ 3623216 h 3636095"/>
              <a:gd name="connsiteX3" fmla="*/ 2000020 w 3093285"/>
              <a:gd name="connsiteY3" fmla="*/ 3133878 h 3636095"/>
              <a:gd name="connsiteX4" fmla="*/ 2787373 w 3093285"/>
              <a:gd name="connsiteY4" fmla="*/ 2454732 h 3636095"/>
              <a:gd name="connsiteX5" fmla="*/ 3053164 w 3093285"/>
              <a:gd name="connsiteY5" fmla="*/ 2053961 h 3636095"/>
              <a:gd name="connsiteX6" fmla="*/ 3092817 w 3093285"/>
              <a:gd name="connsiteY6" fmla="*/ 0 h 3636095"/>
              <a:gd name="connsiteX7" fmla="*/ 41961 w 3093285"/>
              <a:gd name="connsiteY7" fmla="*/ 8601 h 3636095"/>
              <a:gd name="connsiteX8" fmla="*/ 34461 w 3093285"/>
              <a:gd name="connsiteY8" fmla="*/ 1442468 h 3636095"/>
              <a:gd name="connsiteX0" fmla="*/ 34465 w 3395390"/>
              <a:gd name="connsiteY0" fmla="*/ 1442468 h 3636095"/>
              <a:gd name="connsiteX1" fmla="*/ 333833 w 3395390"/>
              <a:gd name="connsiteY1" fmla="*/ 3211159 h 3636095"/>
              <a:gd name="connsiteX2" fmla="*/ 1044794 w 3395390"/>
              <a:gd name="connsiteY2" fmla="*/ 3623216 h 3636095"/>
              <a:gd name="connsiteX3" fmla="*/ 2000024 w 3395390"/>
              <a:gd name="connsiteY3" fmla="*/ 3133878 h 3636095"/>
              <a:gd name="connsiteX4" fmla="*/ 2787377 w 3395390"/>
              <a:gd name="connsiteY4" fmla="*/ 2454732 h 3636095"/>
              <a:gd name="connsiteX5" fmla="*/ 3053168 w 3395390"/>
              <a:gd name="connsiteY5" fmla="*/ 2053961 h 3636095"/>
              <a:gd name="connsiteX6" fmla="*/ 3394922 w 3395390"/>
              <a:gd name="connsiteY6" fmla="*/ 0 h 3636095"/>
              <a:gd name="connsiteX7" fmla="*/ 41965 w 3395390"/>
              <a:gd name="connsiteY7" fmla="*/ 8601 h 3636095"/>
              <a:gd name="connsiteX8" fmla="*/ 34465 w 3395390"/>
              <a:gd name="connsiteY8" fmla="*/ 1442468 h 3636095"/>
              <a:gd name="connsiteX0" fmla="*/ 34461 w 3067705"/>
              <a:gd name="connsiteY0" fmla="*/ 1442468 h 3636095"/>
              <a:gd name="connsiteX1" fmla="*/ 333829 w 3067705"/>
              <a:gd name="connsiteY1" fmla="*/ 3211159 h 3636095"/>
              <a:gd name="connsiteX2" fmla="*/ 1044790 w 3067705"/>
              <a:gd name="connsiteY2" fmla="*/ 3623216 h 3636095"/>
              <a:gd name="connsiteX3" fmla="*/ 2000020 w 3067705"/>
              <a:gd name="connsiteY3" fmla="*/ 3133878 h 3636095"/>
              <a:gd name="connsiteX4" fmla="*/ 2787373 w 3067705"/>
              <a:gd name="connsiteY4" fmla="*/ 2454732 h 3636095"/>
              <a:gd name="connsiteX5" fmla="*/ 3053164 w 3067705"/>
              <a:gd name="connsiteY5" fmla="*/ 2053961 h 3636095"/>
              <a:gd name="connsiteX6" fmla="*/ 3042467 w 3067705"/>
              <a:gd name="connsiteY6" fmla="*/ 0 h 3636095"/>
              <a:gd name="connsiteX7" fmla="*/ 41961 w 3067705"/>
              <a:gd name="connsiteY7" fmla="*/ 8601 h 3636095"/>
              <a:gd name="connsiteX8" fmla="*/ 34461 w 3067705"/>
              <a:gd name="connsiteY8" fmla="*/ 1442468 h 3636095"/>
              <a:gd name="connsiteX0" fmla="*/ 34465 w 3067713"/>
              <a:gd name="connsiteY0" fmla="*/ 1442468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5 w 3067713"/>
              <a:gd name="connsiteY8" fmla="*/ 1442468 h 3636095"/>
              <a:gd name="connsiteX0" fmla="*/ 0 w 3297583"/>
              <a:gd name="connsiteY0" fmla="*/ 1442467 h 3636095"/>
              <a:gd name="connsiteX1" fmla="*/ 563707 w 3297583"/>
              <a:gd name="connsiteY1" fmla="*/ 3211159 h 3636095"/>
              <a:gd name="connsiteX2" fmla="*/ 1274668 w 3297583"/>
              <a:gd name="connsiteY2" fmla="*/ 3623216 h 3636095"/>
              <a:gd name="connsiteX3" fmla="*/ 2229898 w 3297583"/>
              <a:gd name="connsiteY3" fmla="*/ 3133878 h 3636095"/>
              <a:gd name="connsiteX4" fmla="*/ 3017251 w 3297583"/>
              <a:gd name="connsiteY4" fmla="*/ 2454732 h 3636095"/>
              <a:gd name="connsiteX5" fmla="*/ 3283042 w 3297583"/>
              <a:gd name="connsiteY5" fmla="*/ 2053961 h 3636095"/>
              <a:gd name="connsiteX6" fmla="*/ 3272345 w 3297583"/>
              <a:gd name="connsiteY6" fmla="*/ 0 h 3636095"/>
              <a:gd name="connsiteX7" fmla="*/ 271839 w 3297583"/>
              <a:gd name="connsiteY7" fmla="*/ 8601 h 3636095"/>
              <a:gd name="connsiteX8" fmla="*/ 0 w 3297583"/>
              <a:gd name="connsiteY8" fmla="*/ 1442467 h 3636095"/>
              <a:gd name="connsiteX0" fmla="*/ 34464 w 3067713"/>
              <a:gd name="connsiteY0" fmla="*/ 1442467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4 w 3067713"/>
              <a:gd name="connsiteY8" fmla="*/ 1442467 h 3636095"/>
              <a:gd name="connsiteX0" fmla="*/ 6086 w 3039331"/>
              <a:gd name="connsiteY0" fmla="*/ 1442467 h 3636095"/>
              <a:gd name="connsiteX1" fmla="*/ 305455 w 3039331"/>
              <a:gd name="connsiteY1" fmla="*/ 3211159 h 3636095"/>
              <a:gd name="connsiteX2" fmla="*/ 1016416 w 3039331"/>
              <a:gd name="connsiteY2" fmla="*/ 3623216 h 3636095"/>
              <a:gd name="connsiteX3" fmla="*/ 1971646 w 3039331"/>
              <a:gd name="connsiteY3" fmla="*/ 3133878 h 3636095"/>
              <a:gd name="connsiteX4" fmla="*/ 2758999 w 3039331"/>
              <a:gd name="connsiteY4" fmla="*/ 2454732 h 3636095"/>
              <a:gd name="connsiteX5" fmla="*/ 3024790 w 3039331"/>
              <a:gd name="connsiteY5" fmla="*/ 2053961 h 3636095"/>
              <a:gd name="connsiteX6" fmla="*/ 3014093 w 3039331"/>
              <a:gd name="connsiteY6" fmla="*/ 0 h 3636095"/>
              <a:gd name="connsiteX7" fmla="*/ 240163 w 3039331"/>
              <a:gd name="connsiteY7" fmla="*/ 8601 h 3636095"/>
              <a:gd name="connsiteX8" fmla="*/ 6086 w 3039331"/>
              <a:gd name="connsiteY8" fmla="*/ 1442467 h 3636095"/>
              <a:gd name="connsiteX0" fmla="*/ 6086 w 3039335"/>
              <a:gd name="connsiteY0" fmla="*/ 1442467 h 3636095"/>
              <a:gd name="connsiteX1" fmla="*/ 305455 w 3039335"/>
              <a:gd name="connsiteY1" fmla="*/ 3211159 h 3636095"/>
              <a:gd name="connsiteX2" fmla="*/ 1016416 w 3039335"/>
              <a:gd name="connsiteY2" fmla="*/ 3623216 h 3636095"/>
              <a:gd name="connsiteX3" fmla="*/ 1971646 w 3039335"/>
              <a:gd name="connsiteY3" fmla="*/ 3133878 h 3636095"/>
              <a:gd name="connsiteX4" fmla="*/ 2758999 w 3039335"/>
              <a:gd name="connsiteY4" fmla="*/ 2454732 h 3636095"/>
              <a:gd name="connsiteX5" fmla="*/ 3024790 w 3039335"/>
              <a:gd name="connsiteY5" fmla="*/ 2053961 h 3636095"/>
              <a:gd name="connsiteX6" fmla="*/ 3014093 w 3039335"/>
              <a:gd name="connsiteY6" fmla="*/ 0 h 3636095"/>
              <a:gd name="connsiteX7" fmla="*/ 63937 w 3039335"/>
              <a:gd name="connsiteY7" fmla="*/ 8601 h 3636095"/>
              <a:gd name="connsiteX8" fmla="*/ 6086 w 3039335"/>
              <a:gd name="connsiteY8" fmla="*/ 1442467 h 3636095"/>
              <a:gd name="connsiteX0" fmla="*/ 63937 w 3039331"/>
              <a:gd name="connsiteY0" fmla="*/ 8601 h 3636095"/>
              <a:gd name="connsiteX1" fmla="*/ 6086 w 3039331"/>
              <a:gd name="connsiteY1" fmla="*/ 1442467 h 3636095"/>
              <a:gd name="connsiteX2" fmla="*/ 305455 w 3039331"/>
              <a:gd name="connsiteY2" fmla="*/ 3211159 h 3636095"/>
              <a:gd name="connsiteX3" fmla="*/ 1016416 w 3039331"/>
              <a:gd name="connsiteY3" fmla="*/ 3623216 h 3636095"/>
              <a:gd name="connsiteX4" fmla="*/ 1971646 w 3039331"/>
              <a:gd name="connsiteY4" fmla="*/ 3133878 h 3636095"/>
              <a:gd name="connsiteX5" fmla="*/ 2758999 w 3039331"/>
              <a:gd name="connsiteY5" fmla="*/ 2454732 h 3636095"/>
              <a:gd name="connsiteX6" fmla="*/ 3024790 w 3039331"/>
              <a:gd name="connsiteY6" fmla="*/ 2053961 h 3636095"/>
              <a:gd name="connsiteX7" fmla="*/ 3014093 w 3039331"/>
              <a:gd name="connsiteY7" fmla="*/ 0 h 3636095"/>
              <a:gd name="connsiteX8" fmla="*/ 426458 w 3039331"/>
              <a:gd name="connsiteY8" fmla="*/ 521973 h 3636095"/>
              <a:gd name="connsiteX0" fmla="*/ 63937 w 3039335"/>
              <a:gd name="connsiteY0" fmla="*/ 8601 h 3636095"/>
              <a:gd name="connsiteX1" fmla="*/ 6086 w 3039335"/>
              <a:gd name="connsiteY1" fmla="*/ 1442467 h 3636095"/>
              <a:gd name="connsiteX2" fmla="*/ 305455 w 3039335"/>
              <a:gd name="connsiteY2" fmla="*/ 3211159 h 3636095"/>
              <a:gd name="connsiteX3" fmla="*/ 1016416 w 3039335"/>
              <a:gd name="connsiteY3" fmla="*/ 3623216 h 3636095"/>
              <a:gd name="connsiteX4" fmla="*/ 1971646 w 3039335"/>
              <a:gd name="connsiteY4" fmla="*/ 3133878 h 3636095"/>
              <a:gd name="connsiteX5" fmla="*/ 2758999 w 3039335"/>
              <a:gd name="connsiteY5" fmla="*/ 2454732 h 3636095"/>
              <a:gd name="connsiteX6" fmla="*/ 3024790 w 3039335"/>
              <a:gd name="connsiteY6" fmla="*/ 2053961 h 3636095"/>
              <a:gd name="connsiteX7" fmla="*/ 3014093 w 3039335"/>
              <a:gd name="connsiteY7" fmla="*/ 0 h 3636095"/>
              <a:gd name="connsiteX0" fmla="*/ 63937 w 3024789"/>
              <a:gd name="connsiteY0" fmla="*/ 1 h 3627495"/>
              <a:gd name="connsiteX1" fmla="*/ 6086 w 3024789"/>
              <a:gd name="connsiteY1" fmla="*/ 1433867 h 3627495"/>
              <a:gd name="connsiteX2" fmla="*/ 305455 w 3024789"/>
              <a:gd name="connsiteY2" fmla="*/ 3202559 h 3627495"/>
              <a:gd name="connsiteX3" fmla="*/ 1016416 w 3024789"/>
              <a:gd name="connsiteY3" fmla="*/ 3614616 h 3627495"/>
              <a:gd name="connsiteX4" fmla="*/ 1971646 w 3024789"/>
              <a:gd name="connsiteY4" fmla="*/ 3125278 h 3627495"/>
              <a:gd name="connsiteX5" fmla="*/ 2758999 w 3024789"/>
              <a:gd name="connsiteY5" fmla="*/ 2446132 h 3627495"/>
              <a:gd name="connsiteX6" fmla="*/ 3024790 w 3024789"/>
              <a:gd name="connsiteY6" fmla="*/ 2045361 h 3627495"/>
              <a:gd name="connsiteX0" fmla="*/ 63937 w 3024789"/>
              <a:gd name="connsiteY0" fmla="*/ 1 h 3627495"/>
              <a:gd name="connsiteX1" fmla="*/ 6086 w 3024789"/>
              <a:gd name="connsiteY1" fmla="*/ 1433867 h 3627495"/>
              <a:gd name="connsiteX2" fmla="*/ 305455 w 3024789"/>
              <a:gd name="connsiteY2" fmla="*/ 3202559 h 3627495"/>
              <a:gd name="connsiteX3" fmla="*/ 1016416 w 3024789"/>
              <a:gd name="connsiteY3" fmla="*/ 3614616 h 3627495"/>
              <a:gd name="connsiteX4" fmla="*/ 1971646 w 3024789"/>
              <a:gd name="connsiteY4" fmla="*/ 3125278 h 3627495"/>
              <a:gd name="connsiteX5" fmla="*/ 2758999 w 3024789"/>
              <a:gd name="connsiteY5" fmla="*/ 2446132 h 3627495"/>
              <a:gd name="connsiteX6" fmla="*/ 3024789 w 3024789"/>
              <a:gd name="connsiteY6" fmla="*/ 2045360 h 3627495"/>
              <a:gd name="connsiteX0" fmla="*/ 63937 w 2862929"/>
              <a:gd name="connsiteY0" fmla="*/ 1 h 3627495"/>
              <a:gd name="connsiteX1" fmla="*/ 6086 w 2862929"/>
              <a:gd name="connsiteY1" fmla="*/ 1433867 h 3627495"/>
              <a:gd name="connsiteX2" fmla="*/ 305455 w 2862929"/>
              <a:gd name="connsiteY2" fmla="*/ 3202559 h 3627495"/>
              <a:gd name="connsiteX3" fmla="*/ 1016416 w 2862929"/>
              <a:gd name="connsiteY3" fmla="*/ 3614616 h 3627495"/>
              <a:gd name="connsiteX4" fmla="*/ 1971646 w 2862929"/>
              <a:gd name="connsiteY4" fmla="*/ 3125278 h 3627495"/>
              <a:gd name="connsiteX5" fmla="*/ 2758999 w 2862929"/>
              <a:gd name="connsiteY5" fmla="*/ 2446132 h 3627495"/>
              <a:gd name="connsiteX6" fmla="*/ 2595236 w 2862929"/>
              <a:gd name="connsiteY6" fmla="*/ 2045360 h 3627495"/>
              <a:gd name="connsiteX0" fmla="*/ 63937 w 2951151"/>
              <a:gd name="connsiteY0" fmla="*/ 1 h 3627495"/>
              <a:gd name="connsiteX1" fmla="*/ 6086 w 2951151"/>
              <a:gd name="connsiteY1" fmla="*/ 1433867 h 3627495"/>
              <a:gd name="connsiteX2" fmla="*/ 305455 w 2951151"/>
              <a:gd name="connsiteY2" fmla="*/ 3202559 h 3627495"/>
              <a:gd name="connsiteX3" fmla="*/ 1016416 w 2951151"/>
              <a:gd name="connsiteY3" fmla="*/ 3614616 h 3627495"/>
              <a:gd name="connsiteX4" fmla="*/ 1971646 w 2951151"/>
              <a:gd name="connsiteY4" fmla="*/ 3125278 h 3627495"/>
              <a:gd name="connsiteX5" fmla="*/ 2758999 w 2951151"/>
              <a:gd name="connsiteY5" fmla="*/ 2446132 h 3627495"/>
              <a:gd name="connsiteX6" fmla="*/ 2951151 w 2951151"/>
              <a:gd name="connsiteY6" fmla="*/ 2253919 h 3627495"/>
              <a:gd name="connsiteX0" fmla="*/ 63937 w 2951151"/>
              <a:gd name="connsiteY0" fmla="*/ 1 h 3627495"/>
              <a:gd name="connsiteX1" fmla="*/ 6086 w 2951151"/>
              <a:gd name="connsiteY1" fmla="*/ 1433867 h 3627495"/>
              <a:gd name="connsiteX2" fmla="*/ 305455 w 2951151"/>
              <a:gd name="connsiteY2" fmla="*/ 3202559 h 3627495"/>
              <a:gd name="connsiteX3" fmla="*/ 1016416 w 2951151"/>
              <a:gd name="connsiteY3" fmla="*/ 3614616 h 3627495"/>
              <a:gd name="connsiteX4" fmla="*/ 1971646 w 2951151"/>
              <a:gd name="connsiteY4" fmla="*/ 3125278 h 3627495"/>
              <a:gd name="connsiteX5" fmla="*/ 2758999 w 2951151"/>
              <a:gd name="connsiteY5" fmla="*/ 2446132 h 3627495"/>
              <a:gd name="connsiteX6" fmla="*/ 2951151 w 2951151"/>
              <a:gd name="connsiteY6" fmla="*/ 2253919 h 3627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1151" h="3627495">
                <a:moveTo>
                  <a:pt x="63937" y="1"/>
                </a:moveTo>
                <a:cubicBezTo>
                  <a:pt x="21974" y="587276"/>
                  <a:pt x="8477" y="974172"/>
                  <a:pt x="6086" y="1433867"/>
                </a:cubicBezTo>
                <a:cubicBezTo>
                  <a:pt x="9974" y="1906226"/>
                  <a:pt x="-1" y="2692537"/>
                  <a:pt x="305455" y="3202559"/>
                </a:cubicBezTo>
                <a:cubicBezTo>
                  <a:pt x="476641" y="3546211"/>
                  <a:pt x="738718" y="3627496"/>
                  <a:pt x="1016416" y="3614616"/>
                </a:cubicBezTo>
                <a:cubicBezTo>
                  <a:pt x="1294115" y="3601736"/>
                  <a:pt x="1681216" y="3320025"/>
                  <a:pt x="1971646" y="3125278"/>
                </a:cubicBezTo>
                <a:cubicBezTo>
                  <a:pt x="2262076" y="2930531"/>
                  <a:pt x="2595748" y="2591359"/>
                  <a:pt x="2758999" y="2446132"/>
                </a:cubicBezTo>
                <a:cubicBezTo>
                  <a:pt x="2922250" y="2300906"/>
                  <a:pt x="2791700" y="2373082"/>
                  <a:pt x="2951151" y="2253919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4" name="Freeform 13"/>
          <p:cNvSpPr/>
          <p:nvPr userDrawn="1"/>
        </p:nvSpPr>
        <p:spPr bwMode="auto">
          <a:xfrm>
            <a:off x="-6358" y="181595"/>
            <a:ext cx="2386166" cy="5213384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381097"/>
              <a:gd name="connsiteX1" fmla="*/ 264070 w 2402586"/>
              <a:gd name="connsiteY1" fmla="*/ 5171716 h 5381097"/>
              <a:gd name="connsiteX2" fmla="*/ 714716 w 2402586"/>
              <a:gd name="connsiteY2" fmla="*/ 5149799 h 5381097"/>
              <a:gd name="connsiteX3" fmla="*/ 1551003 w 2402586"/>
              <a:gd name="connsiteY3" fmla="*/ 5283696 h 5381097"/>
              <a:gd name="connsiteX4" fmla="*/ 1681554 w 2402586"/>
              <a:gd name="connsiteY4" fmla="*/ 4565394 h 5381097"/>
              <a:gd name="connsiteX5" fmla="*/ 1960135 w 2402586"/>
              <a:gd name="connsiteY5" fmla="*/ 4204878 h 5381097"/>
              <a:gd name="connsiteX6" fmla="*/ 2197748 w 2402586"/>
              <a:gd name="connsiteY6" fmla="*/ 3598555 h 5381097"/>
              <a:gd name="connsiteX7" fmla="*/ 2337038 w 2402586"/>
              <a:gd name="connsiteY7" fmla="*/ 2844749 h 5381097"/>
              <a:gd name="connsiteX8" fmla="*/ 2394393 w 2402586"/>
              <a:gd name="connsiteY8" fmla="*/ 2058168 h 5381097"/>
              <a:gd name="connsiteX9" fmla="*/ 2386199 w 2402586"/>
              <a:gd name="connsiteY9" fmla="*/ 1361716 h 5381097"/>
              <a:gd name="connsiteX10" fmla="*/ 2337038 w 2402586"/>
              <a:gd name="connsiteY10" fmla="*/ 771781 h 5381097"/>
              <a:gd name="connsiteX11" fmla="*/ 2205941 w 2402586"/>
              <a:gd name="connsiteY11" fmla="*/ 362104 h 5381097"/>
              <a:gd name="connsiteX12" fmla="*/ 2017490 w 2402586"/>
              <a:gd name="connsiteY12" fmla="*/ 108104 h 5381097"/>
              <a:gd name="connsiteX13" fmla="*/ 1706135 w 2402586"/>
              <a:gd name="connsiteY13" fmla="*/ 9781 h 5381097"/>
              <a:gd name="connsiteX14" fmla="*/ 1264912 w 2402586"/>
              <a:gd name="connsiteY14" fmla="*/ 49417 h 5381097"/>
              <a:gd name="connsiteX15" fmla="*/ 845812 w 2402586"/>
              <a:gd name="connsiteY15" fmla="*/ 181845 h 5381097"/>
              <a:gd name="connsiteX16" fmla="*/ 501683 w 2402586"/>
              <a:gd name="connsiteY16" fmla="*/ 394878 h 5381097"/>
              <a:gd name="connsiteX17" fmla="*/ 214909 w 2402586"/>
              <a:gd name="connsiteY17" fmla="*/ 763587 h 5381097"/>
              <a:gd name="connsiteX18" fmla="*/ 16420 w 2402586"/>
              <a:gd name="connsiteY18" fmla="*/ 1443652 h 5381097"/>
              <a:gd name="connsiteX19" fmla="*/ 17752 w 2402586"/>
              <a:gd name="connsiteY19" fmla="*/ 4899793 h 5381097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09192 w 2402586"/>
              <a:gd name="connsiteY19" fmla="*/ 4991233 h 5213384"/>
              <a:gd name="connsiteX0" fmla="*/ 1332 w 2386166"/>
              <a:gd name="connsiteY0" fmla="*/ 4899793 h 5213384"/>
              <a:gd name="connsiteX1" fmla="*/ 247650 w 2386166"/>
              <a:gd name="connsiteY1" fmla="*/ 5171716 h 5213384"/>
              <a:gd name="connsiteX2" fmla="*/ 698296 w 2386166"/>
              <a:gd name="connsiteY2" fmla="*/ 5149799 h 5213384"/>
              <a:gd name="connsiteX3" fmla="*/ 1272116 w 2386166"/>
              <a:gd name="connsiteY3" fmla="*/ 4868829 h 5213384"/>
              <a:gd name="connsiteX4" fmla="*/ 1665134 w 2386166"/>
              <a:gd name="connsiteY4" fmla="*/ 4565394 h 5213384"/>
              <a:gd name="connsiteX5" fmla="*/ 1943715 w 2386166"/>
              <a:gd name="connsiteY5" fmla="*/ 4204878 h 5213384"/>
              <a:gd name="connsiteX6" fmla="*/ 2181328 w 2386166"/>
              <a:gd name="connsiteY6" fmla="*/ 3598555 h 5213384"/>
              <a:gd name="connsiteX7" fmla="*/ 2320618 w 2386166"/>
              <a:gd name="connsiteY7" fmla="*/ 2844749 h 5213384"/>
              <a:gd name="connsiteX8" fmla="*/ 2377973 w 2386166"/>
              <a:gd name="connsiteY8" fmla="*/ 2058168 h 5213384"/>
              <a:gd name="connsiteX9" fmla="*/ 2369779 w 2386166"/>
              <a:gd name="connsiteY9" fmla="*/ 1361716 h 5213384"/>
              <a:gd name="connsiteX10" fmla="*/ 2320618 w 2386166"/>
              <a:gd name="connsiteY10" fmla="*/ 771781 h 5213384"/>
              <a:gd name="connsiteX11" fmla="*/ 2189521 w 2386166"/>
              <a:gd name="connsiteY11" fmla="*/ 362104 h 5213384"/>
              <a:gd name="connsiteX12" fmla="*/ 2001070 w 2386166"/>
              <a:gd name="connsiteY12" fmla="*/ 108104 h 5213384"/>
              <a:gd name="connsiteX13" fmla="*/ 1689715 w 2386166"/>
              <a:gd name="connsiteY13" fmla="*/ 9781 h 5213384"/>
              <a:gd name="connsiteX14" fmla="*/ 1248492 w 2386166"/>
              <a:gd name="connsiteY14" fmla="*/ 49417 h 5213384"/>
              <a:gd name="connsiteX15" fmla="*/ 829392 w 2386166"/>
              <a:gd name="connsiteY15" fmla="*/ 181845 h 5213384"/>
              <a:gd name="connsiteX16" fmla="*/ 485263 w 2386166"/>
              <a:gd name="connsiteY16" fmla="*/ 394878 h 5213384"/>
              <a:gd name="connsiteX17" fmla="*/ 198489 w 2386166"/>
              <a:gd name="connsiteY17" fmla="*/ 763587 h 5213384"/>
              <a:gd name="connsiteX18" fmla="*/ 0 w 2386166"/>
              <a:gd name="connsiteY18" fmla="*/ 1443652 h 5213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6166" h="5213384">
                <a:moveTo>
                  <a:pt x="1332" y="4899793"/>
                </a:moveTo>
                <a:cubicBezTo>
                  <a:pt x="19084" y="4939395"/>
                  <a:pt x="83864" y="5101473"/>
                  <a:pt x="247650" y="5171716"/>
                </a:cubicBezTo>
                <a:cubicBezTo>
                  <a:pt x="401911" y="5213384"/>
                  <a:pt x="527552" y="5200280"/>
                  <a:pt x="698296" y="5149799"/>
                </a:cubicBezTo>
                <a:cubicBezTo>
                  <a:pt x="869040" y="5099318"/>
                  <a:pt x="1110976" y="4966230"/>
                  <a:pt x="1272116" y="4868829"/>
                </a:cubicBezTo>
                <a:cubicBezTo>
                  <a:pt x="1433256" y="4771428"/>
                  <a:pt x="1553201" y="4676052"/>
                  <a:pt x="1665134" y="4565394"/>
                </a:cubicBezTo>
                <a:cubicBezTo>
                  <a:pt x="1777067" y="4454736"/>
                  <a:pt x="1857683" y="4366018"/>
                  <a:pt x="1943715" y="4204878"/>
                </a:cubicBezTo>
                <a:cubicBezTo>
                  <a:pt x="2029747" y="4043738"/>
                  <a:pt x="2118511" y="3825243"/>
                  <a:pt x="2181328" y="3598555"/>
                </a:cubicBezTo>
                <a:cubicBezTo>
                  <a:pt x="2244145" y="3371867"/>
                  <a:pt x="2287844" y="3101480"/>
                  <a:pt x="2320618" y="2844749"/>
                </a:cubicBezTo>
                <a:cubicBezTo>
                  <a:pt x="2353392" y="2588018"/>
                  <a:pt x="2369780" y="2305340"/>
                  <a:pt x="2377973" y="2058168"/>
                </a:cubicBezTo>
                <a:cubicBezTo>
                  <a:pt x="2386166" y="1810996"/>
                  <a:pt x="2379338" y="1576114"/>
                  <a:pt x="2369779" y="1361716"/>
                </a:cubicBezTo>
                <a:cubicBezTo>
                  <a:pt x="2360220" y="1147318"/>
                  <a:pt x="2350661" y="938383"/>
                  <a:pt x="2320618" y="771781"/>
                </a:cubicBezTo>
                <a:cubicBezTo>
                  <a:pt x="2290575" y="605179"/>
                  <a:pt x="2242779" y="472717"/>
                  <a:pt x="2189521" y="362104"/>
                </a:cubicBezTo>
                <a:cubicBezTo>
                  <a:pt x="2136263" y="251491"/>
                  <a:pt x="2084371" y="166824"/>
                  <a:pt x="2001070" y="108104"/>
                </a:cubicBezTo>
                <a:cubicBezTo>
                  <a:pt x="1917769" y="49384"/>
                  <a:pt x="1815145" y="19562"/>
                  <a:pt x="1689715" y="9781"/>
                </a:cubicBezTo>
                <a:cubicBezTo>
                  <a:pt x="1564285" y="0"/>
                  <a:pt x="1391879" y="20740"/>
                  <a:pt x="1248492" y="49417"/>
                </a:cubicBezTo>
                <a:cubicBezTo>
                  <a:pt x="1105105" y="78094"/>
                  <a:pt x="956597" y="124268"/>
                  <a:pt x="829392" y="181845"/>
                </a:cubicBezTo>
                <a:cubicBezTo>
                  <a:pt x="702187" y="239422"/>
                  <a:pt x="590414" y="297921"/>
                  <a:pt x="485263" y="394878"/>
                </a:cubicBezTo>
                <a:cubicBezTo>
                  <a:pt x="380113" y="491835"/>
                  <a:pt x="279366" y="588791"/>
                  <a:pt x="198489" y="763587"/>
                </a:cubicBezTo>
                <a:cubicBezTo>
                  <a:pt x="117612" y="938383"/>
                  <a:pt x="43699" y="1130932"/>
                  <a:pt x="0" y="1443652"/>
                </a:cubicBezTo>
              </a:path>
            </a:pathLst>
          </a:custGeom>
          <a:solidFill>
            <a:schemeClr val="bg1">
              <a:alpha val="40000"/>
            </a:schemeClr>
          </a:soli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440325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102132" y="1397305"/>
            <a:ext cx="6553200" cy="2286000"/>
          </a:xfrm>
          <a:effectLst/>
        </p:spPr>
        <p:txBody>
          <a:bodyPr lIns="0" tIns="0" rIns="0" bIns="0" anchor="b"/>
          <a:lstStyle>
            <a:lvl1pPr algn="r">
              <a:defRPr sz="35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40326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4339" y="4050475"/>
            <a:ext cx="5308303" cy="843260"/>
          </a:xfrm>
        </p:spPr>
        <p:txBody>
          <a:bodyPr lIns="0" tIns="0" rIns="0" bIns="0" anchor="t" anchorCtr="0"/>
          <a:lstStyle>
            <a:lvl1pPr marL="0" indent="0" algn="r">
              <a:buFontTx/>
              <a:buNone/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7" name="Text Box 8"/>
          <p:cNvSpPr txBox="1">
            <a:spLocks noChangeArrowheads="1"/>
          </p:cNvSpPr>
          <p:nvPr userDrawn="1"/>
        </p:nvSpPr>
        <p:spPr bwMode="auto">
          <a:xfrm>
            <a:off x="7366536" y="6466415"/>
            <a:ext cx="128693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ea typeface="ＭＳ Ｐゴシック" pitchFamily="-110" charset="-128"/>
                <a:cs typeface="ＭＳ Ｐゴシック" pitchFamily="-110" charset="-128"/>
              </a:rPr>
              <a:t>For Internal Use Only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6172200" cy="189436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286000" y="5003322"/>
            <a:ext cx="6172200" cy="1371600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4621" y="1174097"/>
            <a:ext cx="2286000" cy="381000"/>
          </a:xfrm>
        </p:spPr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269" y="4181669"/>
            <a:ext cx="3657600" cy="384048"/>
          </a:xfrm>
        </p:spPr>
        <p:txBody>
          <a:bodyPr/>
          <a:lstStyle/>
          <a:p>
            <a:endParaRPr kumimoji="0"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Rectangle 13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Rectangle 18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Straight Connector 17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0" name="Straight Connector 19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2" name="Straight Connector 21"/>
          <p:cNvSpPr>
            <a:spLocks noChangeShapeType="1"/>
          </p:cNvSpPr>
          <p:nvPr/>
        </p:nvSpPr>
        <p:spPr bwMode="auto">
          <a:xfrm>
            <a:off x="9113856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7" name="Rectangle 26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Oval 20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Oval 22"/>
          <p:cNvSpPr/>
          <p:nvPr/>
        </p:nvSpPr>
        <p:spPr bwMode="auto">
          <a:xfrm>
            <a:off x="1309632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4" name="Oval 23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Oval 25"/>
          <p:cNvSpPr/>
          <p:nvPr/>
        </p:nvSpPr>
        <p:spPr bwMode="auto">
          <a:xfrm>
            <a:off x="1664208" y="5788152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5" name="Oval 24"/>
          <p:cNvSpPr/>
          <p:nvPr/>
        </p:nvSpPr>
        <p:spPr>
          <a:xfrm>
            <a:off x="1905000" y="4495800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 bwMode="auto">
          <a:xfrm>
            <a:off x="1325544" y="4928702"/>
            <a:ext cx="609600" cy="517524"/>
          </a:xfrm>
        </p:spPr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7467600" cy="4873752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2895600"/>
            <a:ext cx="6172200" cy="2053590"/>
          </a:xfrm>
        </p:spPr>
        <p:txBody>
          <a:bodyPr/>
          <a:lstStyle>
            <a:lvl1pPr algn="l">
              <a:buNone/>
              <a:defRPr sz="3000" b="1" cap="sm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0" y="5010150"/>
            <a:ext cx="6172200" cy="13716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3256" y="1170432"/>
            <a:ext cx="2286000" cy="381000"/>
          </a:xfrm>
        </p:spPr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456" y="4178808"/>
            <a:ext cx="3657600" cy="384048"/>
          </a:xfrm>
        </p:spPr>
        <p:txBody>
          <a:bodyPr/>
          <a:lstStyle/>
          <a:p>
            <a:endParaRPr kumimoji="0" lang="en-US"/>
          </a:p>
        </p:txBody>
      </p:sp>
      <p:sp>
        <p:nvSpPr>
          <p:cNvPr id="9" name="Rectangle 8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Straight Connector 12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Straight Connector 13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7" name="Straight Connector 16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Rectangle 17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Oval 18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0" name="Oval 19"/>
          <p:cNvSpPr/>
          <p:nvPr/>
        </p:nvSpPr>
        <p:spPr bwMode="auto">
          <a:xfrm>
            <a:off x="1324704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Oval 20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Oval 21"/>
          <p:cNvSpPr/>
          <p:nvPr/>
        </p:nvSpPr>
        <p:spPr bwMode="auto">
          <a:xfrm>
            <a:off x="1664208" y="5791200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Oval 22"/>
          <p:cNvSpPr/>
          <p:nvPr/>
        </p:nvSpPr>
        <p:spPr bwMode="auto">
          <a:xfrm>
            <a:off x="1879040" y="4479888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Straight Connector 25"/>
          <p:cNvSpPr>
            <a:spLocks noChangeShapeType="1"/>
          </p:cNvSpPr>
          <p:nvPr/>
        </p:nvSpPr>
        <p:spPr bwMode="auto">
          <a:xfrm>
            <a:off x="9097944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1340616" y="4928702"/>
            <a:ext cx="609600" cy="517524"/>
          </a:xfrm>
        </p:spPr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270248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7543800" cy="1143000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371975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"/>
          </p:nvPr>
        </p:nvSpPr>
        <p:spPr>
          <a:xfrm>
            <a:off x="4572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"/>
          </p:nvPr>
        </p:nvSpPr>
        <p:spPr>
          <a:xfrm>
            <a:off x="43434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traight Connector 9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5400000">
            <a:off x="3371850" y="3200400"/>
            <a:ext cx="6309360" cy="457200"/>
          </a:xfrm>
        </p:spPr>
        <p:txBody>
          <a:bodyPr anchor="b"/>
          <a:lstStyle>
            <a:lvl1pPr algn="l">
              <a:buNone/>
              <a:defRPr sz="2000" b="1" cap="sm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12280" y="274320"/>
            <a:ext cx="1527048" cy="49834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1000"/>
              </a:spcAft>
              <a:buNone/>
              <a:defRPr sz="12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Straight Connector 12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Oval 13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"/>
          </p:nvPr>
        </p:nvSpPr>
        <p:spPr>
          <a:xfrm>
            <a:off x="304800" y="274320"/>
            <a:ext cx="5638800" cy="6327648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3" name="Oval 12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5400000">
            <a:off x="3350133" y="3200400"/>
            <a:ext cx="6309360" cy="457200"/>
          </a:xfrm>
        </p:spPr>
        <p:txBody>
          <a:bodyPr anchor="b"/>
          <a:lstStyle>
            <a:lvl1pPr algn="l">
              <a:buNone/>
              <a:defRPr sz="2000"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6172200" cy="6858000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200"/>
            </a:lvl1pPr>
          </a:lstStyle>
          <a:p>
            <a:pPr algn="ctr" eaLnBrk="1" latinLnBrk="0" hangingPunct="1">
              <a:buFontTx/>
              <a:buNone/>
            </a:pPr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5798" y="264795"/>
            <a:ext cx="1524000" cy="4956048"/>
          </a:xfrm>
        </p:spPr>
        <p:txBody>
          <a:bodyPr rot="0" spcFirstLastPara="0" vertOverflow="overflow" horzOverflow="overflow" vert="horz" wrap="square" lIns="91440" tIns="45720" rIns="91440" bIns="45720" numCol="1" spcCol="274320" rtlCol="0" fromWordArt="0" anchor="t" anchorCtr="0" forceAA="0" compatLnSpc="1">
            <a:normAutofit/>
          </a:bodyPr>
          <a:lstStyle>
            <a:lvl1pPr marL="0" indent="0">
              <a:spcBef>
                <a:spcPts val="100"/>
              </a:spcBef>
              <a:spcAft>
                <a:spcPts val="400"/>
              </a:spcAft>
              <a:buFontTx/>
              <a:buNone/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1" name="Rectangle 10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9" name="Straight Connector 18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0" name="Straight Connector 19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16764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6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90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6840" y="146307"/>
            <a:ext cx="8156624" cy="622300"/>
          </a:xfrm>
        </p:spPr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6840" y="1089025"/>
            <a:ext cx="8156624" cy="4957763"/>
          </a:xfrm>
        </p:spPr>
        <p:txBody>
          <a:bodyPr lIns="0" tIns="0" rIns="0" bIns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7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90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0817" y="4222997"/>
            <a:ext cx="7772400" cy="1362075"/>
          </a:xfrm>
          <a:effectLst/>
        </p:spPr>
        <p:txBody>
          <a:bodyPr lIns="0" tIns="0" rIns="0" bIns="0"/>
          <a:lstStyle>
            <a:lvl1pPr algn="r">
              <a:defRPr sz="3500" b="1" cap="none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982" y="2559381"/>
            <a:ext cx="7772400" cy="1500187"/>
          </a:xfrm>
        </p:spPr>
        <p:txBody>
          <a:bodyPr lIns="0" tIns="0" rIns="0" bIns="0" anchor="b"/>
          <a:lstStyle>
            <a:lvl1pPr marL="0" indent="0" algn="r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reeform 5"/>
          <p:cNvSpPr/>
          <p:nvPr userDrawn="1"/>
        </p:nvSpPr>
        <p:spPr bwMode="auto">
          <a:xfrm>
            <a:off x="2776843" y="-8372"/>
            <a:ext cx="1923757" cy="3666875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77131 h 4590722"/>
              <a:gd name="connsiteX1" fmla="*/ 419791 w 2410332"/>
              <a:gd name="connsiteY1" fmla="*/ 4549054 h 4590722"/>
              <a:gd name="connsiteX2" fmla="*/ 870437 w 2410332"/>
              <a:gd name="connsiteY2" fmla="*/ 4527137 h 4590722"/>
              <a:gd name="connsiteX3" fmla="*/ 1446263 w 2410332"/>
              <a:gd name="connsiteY3" fmla="*/ 4253411 h 4590722"/>
              <a:gd name="connsiteX4" fmla="*/ 1837275 w 2410332"/>
              <a:gd name="connsiteY4" fmla="*/ 3942732 h 4590722"/>
              <a:gd name="connsiteX5" fmla="*/ 2115856 w 2410332"/>
              <a:gd name="connsiteY5" fmla="*/ 3477487 h 4590722"/>
              <a:gd name="connsiteX6" fmla="*/ 2264450 w 2410332"/>
              <a:gd name="connsiteY6" fmla="*/ 2975893 h 4590722"/>
              <a:gd name="connsiteX7" fmla="*/ 2388031 w 2410332"/>
              <a:gd name="connsiteY7" fmla="*/ 2159250 h 4590722"/>
              <a:gd name="connsiteX8" fmla="*/ 2398257 w 2410332"/>
              <a:gd name="connsiteY8" fmla="*/ 1435506 h 4590722"/>
              <a:gd name="connsiteX9" fmla="*/ 2374355 w 2410332"/>
              <a:gd name="connsiteY9" fmla="*/ 739054 h 4590722"/>
              <a:gd name="connsiteX10" fmla="*/ 2236174 w 2410332"/>
              <a:gd name="connsiteY10" fmla="*/ 65337 h 4590722"/>
              <a:gd name="connsiteX11" fmla="*/ 547441 w 2410332"/>
              <a:gd name="connsiteY11" fmla="*/ 0 h 4590722"/>
              <a:gd name="connsiteX12" fmla="*/ 197828 w 2410332"/>
              <a:gd name="connsiteY12" fmla="*/ 863552 h 4590722"/>
              <a:gd name="connsiteX13" fmla="*/ 51703 w 2410332"/>
              <a:gd name="connsiteY13" fmla="*/ 2465226 h 4590722"/>
              <a:gd name="connsiteX14" fmla="*/ 173473 w 2410332"/>
              <a:gd name="connsiteY14" fmla="*/ 4277131 h 4590722"/>
              <a:gd name="connsiteX0" fmla="*/ 173473 w 2410332"/>
              <a:gd name="connsiteY0" fmla="*/ 4222149 h 4535740"/>
              <a:gd name="connsiteX1" fmla="*/ 419791 w 2410332"/>
              <a:gd name="connsiteY1" fmla="*/ 4494072 h 4535740"/>
              <a:gd name="connsiteX2" fmla="*/ 870437 w 2410332"/>
              <a:gd name="connsiteY2" fmla="*/ 4472155 h 4535740"/>
              <a:gd name="connsiteX3" fmla="*/ 1446263 w 2410332"/>
              <a:gd name="connsiteY3" fmla="*/ 4198429 h 4535740"/>
              <a:gd name="connsiteX4" fmla="*/ 1837275 w 2410332"/>
              <a:gd name="connsiteY4" fmla="*/ 3887750 h 4535740"/>
              <a:gd name="connsiteX5" fmla="*/ 2115856 w 2410332"/>
              <a:gd name="connsiteY5" fmla="*/ 3422505 h 4535740"/>
              <a:gd name="connsiteX6" fmla="*/ 2264450 w 2410332"/>
              <a:gd name="connsiteY6" fmla="*/ 2920911 h 4535740"/>
              <a:gd name="connsiteX7" fmla="*/ 2388031 w 2410332"/>
              <a:gd name="connsiteY7" fmla="*/ 2104268 h 4535740"/>
              <a:gd name="connsiteX8" fmla="*/ 2398257 w 2410332"/>
              <a:gd name="connsiteY8" fmla="*/ 1380524 h 4535740"/>
              <a:gd name="connsiteX9" fmla="*/ 2374355 w 2410332"/>
              <a:gd name="connsiteY9" fmla="*/ 684072 h 4535740"/>
              <a:gd name="connsiteX10" fmla="*/ 2236174 w 2410332"/>
              <a:gd name="connsiteY10" fmla="*/ 10355 h 4535740"/>
              <a:gd name="connsiteX11" fmla="*/ 547441 w 2410332"/>
              <a:gd name="connsiteY11" fmla="*/ 0 h 4535740"/>
              <a:gd name="connsiteX12" fmla="*/ 197828 w 2410332"/>
              <a:gd name="connsiteY12" fmla="*/ 808570 h 4535740"/>
              <a:gd name="connsiteX13" fmla="*/ 51703 w 2410332"/>
              <a:gd name="connsiteY13" fmla="*/ 2410244 h 4535740"/>
              <a:gd name="connsiteX14" fmla="*/ 173473 w 2410332"/>
              <a:gd name="connsiteY14" fmla="*/ 4222149 h 4535740"/>
              <a:gd name="connsiteX0" fmla="*/ 131582 w 2368441"/>
              <a:gd name="connsiteY0" fmla="*/ 4222149 h 4535740"/>
              <a:gd name="connsiteX1" fmla="*/ 377900 w 2368441"/>
              <a:gd name="connsiteY1" fmla="*/ 4494072 h 4535740"/>
              <a:gd name="connsiteX2" fmla="*/ 828546 w 2368441"/>
              <a:gd name="connsiteY2" fmla="*/ 4472155 h 4535740"/>
              <a:gd name="connsiteX3" fmla="*/ 1404372 w 2368441"/>
              <a:gd name="connsiteY3" fmla="*/ 4198429 h 4535740"/>
              <a:gd name="connsiteX4" fmla="*/ 1795384 w 2368441"/>
              <a:gd name="connsiteY4" fmla="*/ 3887750 h 4535740"/>
              <a:gd name="connsiteX5" fmla="*/ 2073965 w 2368441"/>
              <a:gd name="connsiteY5" fmla="*/ 3422505 h 4535740"/>
              <a:gd name="connsiteX6" fmla="*/ 2222559 w 2368441"/>
              <a:gd name="connsiteY6" fmla="*/ 2920911 h 4535740"/>
              <a:gd name="connsiteX7" fmla="*/ 2346140 w 2368441"/>
              <a:gd name="connsiteY7" fmla="*/ 2104268 h 4535740"/>
              <a:gd name="connsiteX8" fmla="*/ 2356366 w 2368441"/>
              <a:gd name="connsiteY8" fmla="*/ 1380524 h 4535740"/>
              <a:gd name="connsiteX9" fmla="*/ 2332464 w 2368441"/>
              <a:gd name="connsiteY9" fmla="*/ 684072 h 4535740"/>
              <a:gd name="connsiteX10" fmla="*/ 2194283 w 2368441"/>
              <a:gd name="connsiteY10" fmla="*/ 10355 h 4535740"/>
              <a:gd name="connsiteX11" fmla="*/ 505550 w 2368441"/>
              <a:gd name="connsiteY11" fmla="*/ 0 h 4535740"/>
              <a:gd name="connsiteX12" fmla="*/ 155937 w 2368441"/>
              <a:gd name="connsiteY12" fmla="*/ 808570 h 4535740"/>
              <a:gd name="connsiteX13" fmla="*/ 9812 w 2368441"/>
              <a:gd name="connsiteY13" fmla="*/ 2410244 h 4535740"/>
              <a:gd name="connsiteX14" fmla="*/ 131582 w 2368441"/>
              <a:gd name="connsiteY14" fmla="*/ 4222149 h 4535740"/>
              <a:gd name="connsiteX0" fmla="*/ 131582 w 2547156"/>
              <a:gd name="connsiteY0" fmla="*/ 4222149 h 4535740"/>
              <a:gd name="connsiteX1" fmla="*/ 377900 w 2547156"/>
              <a:gd name="connsiteY1" fmla="*/ 4494072 h 4535740"/>
              <a:gd name="connsiteX2" fmla="*/ 828546 w 2547156"/>
              <a:gd name="connsiteY2" fmla="*/ 4472155 h 4535740"/>
              <a:gd name="connsiteX3" fmla="*/ 1404372 w 2547156"/>
              <a:gd name="connsiteY3" fmla="*/ 4198429 h 4535740"/>
              <a:gd name="connsiteX4" fmla="*/ 1795384 w 2547156"/>
              <a:gd name="connsiteY4" fmla="*/ 3887750 h 4535740"/>
              <a:gd name="connsiteX5" fmla="*/ 2073965 w 2547156"/>
              <a:gd name="connsiteY5" fmla="*/ 3422505 h 4535740"/>
              <a:gd name="connsiteX6" fmla="*/ 2222559 w 2547156"/>
              <a:gd name="connsiteY6" fmla="*/ 2920911 h 4535740"/>
              <a:gd name="connsiteX7" fmla="*/ 2346140 w 2547156"/>
              <a:gd name="connsiteY7" fmla="*/ 2104268 h 4535740"/>
              <a:gd name="connsiteX8" fmla="*/ 2544877 w 2547156"/>
              <a:gd name="connsiteY8" fmla="*/ 1380524 h 4535740"/>
              <a:gd name="connsiteX9" fmla="*/ 2332464 w 2547156"/>
              <a:gd name="connsiteY9" fmla="*/ 684072 h 4535740"/>
              <a:gd name="connsiteX10" fmla="*/ 2194283 w 2547156"/>
              <a:gd name="connsiteY10" fmla="*/ 10355 h 4535740"/>
              <a:gd name="connsiteX11" fmla="*/ 505550 w 2547156"/>
              <a:gd name="connsiteY11" fmla="*/ 0 h 4535740"/>
              <a:gd name="connsiteX12" fmla="*/ 155937 w 2547156"/>
              <a:gd name="connsiteY12" fmla="*/ 808570 h 4535740"/>
              <a:gd name="connsiteX13" fmla="*/ 9812 w 2547156"/>
              <a:gd name="connsiteY13" fmla="*/ 2410244 h 4535740"/>
              <a:gd name="connsiteX14" fmla="*/ 131582 w 2547156"/>
              <a:gd name="connsiteY14" fmla="*/ 4222149 h 4535740"/>
              <a:gd name="connsiteX0" fmla="*/ 131582 w 2379591"/>
              <a:gd name="connsiteY0" fmla="*/ 4222149 h 4535740"/>
              <a:gd name="connsiteX1" fmla="*/ 377900 w 2379591"/>
              <a:gd name="connsiteY1" fmla="*/ 4494072 h 4535740"/>
              <a:gd name="connsiteX2" fmla="*/ 828546 w 2379591"/>
              <a:gd name="connsiteY2" fmla="*/ 4472155 h 4535740"/>
              <a:gd name="connsiteX3" fmla="*/ 1404372 w 2379591"/>
              <a:gd name="connsiteY3" fmla="*/ 4198429 h 4535740"/>
              <a:gd name="connsiteX4" fmla="*/ 1795384 w 2379591"/>
              <a:gd name="connsiteY4" fmla="*/ 3887750 h 4535740"/>
              <a:gd name="connsiteX5" fmla="*/ 2073965 w 2379591"/>
              <a:gd name="connsiteY5" fmla="*/ 3422505 h 4535740"/>
              <a:gd name="connsiteX6" fmla="*/ 2222559 w 2379591"/>
              <a:gd name="connsiteY6" fmla="*/ 2920911 h 4535740"/>
              <a:gd name="connsiteX7" fmla="*/ 2346140 w 2379591"/>
              <a:gd name="connsiteY7" fmla="*/ 2104268 h 4535740"/>
              <a:gd name="connsiteX8" fmla="*/ 2377312 w 2379591"/>
              <a:gd name="connsiteY8" fmla="*/ 1380524 h 4535740"/>
              <a:gd name="connsiteX9" fmla="*/ 2332464 w 2379591"/>
              <a:gd name="connsiteY9" fmla="*/ 684072 h 4535740"/>
              <a:gd name="connsiteX10" fmla="*/ 2194283 w 2379591"/>
              <a:gd name="connsiteY10" fmla="*/ 10355 h 4535740"/>
              <a:gd name="connsiteX11" fmla="*/ 505550 w 2379591"/>
              <a:gd name="connsiteY11" fmla="*/ 0 h 4535740"/>
              <a:gd name="connsiteX12" fmla="*/ 155937 w 2379591"/>
              <a:gd name="connsiteY12" fmla="*/ 808570 h 4535740"/>
              <a:gd name="connsiteX13" fmla="*/ 9812 w 2379591"/>
              <a:gd name="connsiteY13" fmla="*/ 2410244 h 4535740"/>
              <a:gd name="connsiteX14" fmla="*/ 131582 w 2379591"/>
              <a:gd name="connsiteY14" fmla="*/ 4222149 h 4535740"/>
              <a:gd name="connsiteX0" fmla="*/ 505550 w 2379591"/>
              <a:gd name="connsiteY0" fmla="*/ 0 h 4535740"/>
              <a:gd name="connsiteX1" fmla="*/ 155937 w 2379591"/>
              <a:gd name="connsiteY1" fmla="*/ 808570 h 4535740"/>
              <a:gd name="connsiteX2" fmla="*/ 9812 w 2379591"/>
              <a:gd name="connsiteY2" fmla="*/ 2410244 h 4535740"/>
              <a:gd name="connsiteX3" fmla="*/ 131582 w 2379591"/>
              <a:gd name="connsiteY3" fmla="*/ 4222149 h 4535740"/>
              <a:gd name="connsiteX4" fmla="*/ 377900 w 2379591"/>
              <a:gd name="connsiteY4" fmla="*/ 4494072 h 4535740"/>
              <a:gd name="connsiteX5" fmla="*/ 828546 w 2379591"/>
              <a:gd name="connsiteY5" fmla="*/ 4472155 h 4535740"/>
              <a:gd name="connsiteX6" fmla="*/ 1404372 w 2379591"/>
              <a:gd name="connsiteY6" fmla="*/ 4198429 h 4535740"/>
              <a:gd name="connsiteX7" fmla="*/ 1795384 w 2379591"/>
              <a:gd name="connsiteY7" fmla="*/ 3887750 h 4535740"/>
              <a:gd name="connsiteX8" fmla="*/ 2073965 w 2379591"/>
              <a:gd name="connsiteY8" fmla="*/ 3422505 h 4535740"/>
              <a:gd name="connsiteX9" fmla="*/ 2222559 w 2379591"/>
              <a:gd name="connsiteY9" fmla="*/ 2920911 h 4535740"/>
              <a:gd name="connsiteX10" fmla="*/ 2346140 w 2379591"/>
              <a:gd name="connsiteY10" fmla="*/ 2104268 h 4535740"/>
              <a:gd name="connsiteX11" fmla="*/ 2377312 w 2379591"/>
              <a:gd name="connsiteY11" fmla="*/ 1380524 h 4535740"/>
              <a:gd name="connsiteX12" fmla="*/ 2332464 w 2379591"/>
              <a:gd name="connsiteY12" fmla="*/ 684072 h 4535740"/>
              <a:gd name="connsiteX13" fmla="*/ 2194283 w 2379591"/>
              <a:gd name="connsiteY13" fmla="*/ 10355 h 4535740"/>
              <a:gd name="connsiteX14" fmla="*/ 618657 w 2379591"/>
              <a:gd name="connsiteY14" fmla="*/ 113107 h 4535740"/>
              <a:gd name="connsiteX0" fmla="*/ 505550 w 2379591"/>
              <a:gd name="connsiteY0" fmla="*/ 0 h 4535740"/>
              <a:gd name="connsiteX1" fmla="*/ 155937 w 2379591"/>
              <a:gd name="connsiteY1" fmla="*/ 808570 h 4535740"/>
              <a:gd name="connsiteX2" fmla="*/ 9812 w 2379591"/>
              <a:gd name="connsiteY2" fmla="*/ 2410244 h 4535740"/>
              <a:gd name="connsiteX3" fmla="*/ 131582 w 2379591"/>
              <a:gd name="connsiteY3" fmla="*/ 4222149 h 4535740"/>
              <a:gd name="connsiteX4" fmla="*/ 377900 w 2379591"/>
              <a:gd name="connsiteY4" fmla="*/ 4494072 h 4535740"/>
              <a:gd name="connsiteX5" fmla="*/ 828546 w 2379591"/>
              <a:gd name="connsiteY5" fmla="*/ 4472155 h 4535740"/>
              <a:gd name="connsiteX6" fmla="*/ 1404372 w 2379591"/>
              <a:gd name="connsiteY6" fmla="*/ 4198429 h 4535740"/>
              <a:gd name="connsiteX7" fmla="*/ 1795384 w 2379591"/>
              <a:gd name="connsiteY7" fmla="*/ 3887750 h 4535740"/>
              <a:gd name="connsiteX8" fmla="*/ 2073965 w 2379591"/>
              <a:gd name="connsiteY8" fmla="*/ 3422505 h 4535740"/>
              <a:gd name="connsiteX9" fmla="*/ 2222559 w 2379591"/>
              <a:gd name="connsiteY9" fmla="*/ 2920911 h 4535740"/>
              <a:gd name="connsiteX10" fmla="*/ 2346140 w 2379591"/>
              <a:gd name="connsiteY10" fmla="*/ 2104268 h 4535740"/>
              <a:gd name="connsiteX11" fmla="*/ 2377312 w 2379591"/>
              <a:gd name="connsiteY11" fmla="*/ 1380524 h 4535740"/>
              <a:gd name="connsiteX12" fmla="*/ 2332464 w 2379591"/>
              <a:gd name="connsiteY12" fmla="*/ 684072 h 4535740"/>
              <a:gd name="connsiteX13" fmla="*/ 2194283 w 2379591"/>
              <a:gd name="connsiteY13" fmla="*/ 10355 h 453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79591" h="4535740">
                <a:moveTo>
                  <a:pt x="505550" y="0"/>
                </a:moveTo>
                <a:cubicBezTo>
                  <a:pt x="396229" y="122564"/>
                  <a:pt x="238560" y="409481"/>
                  <a:pt x="155937" y="808570"/>
                </a:cubicBezTo>
                <a:cubicBezTo>
                  <a:pt x="36659" y="1469481"/>
                  <a:pt x="6384" y="2029451"/>
                  <a:pt x="9812" y="2410244"/>
                </a:cubicBezTo>
                <a:cubicBezTo>
                  <a:pt x="0" y="2952569"/>
                  <a:pt x="40521" y="3920226"/>
                  <a:pt x="131582" y="4222149"/>
                </a:cubicBezTo>
                <a:cubicBezTo>
                  <a:pt x="149334" y="4261751"/>
                  <a:pt x="214114" y="4423829"/>
                  <a:pt x="377900" y="4494072"/>
                </a:cubicBezTo>
                <a:cubicBezTo>
                  <a:pt x="532161" y="4535740"/>
                  <a:pt x="657467" y="4521429"/>
                  <a:pt x="828546" y="4472155"/>
                </a:cubicBezTo>
                <a:cubicBezTo>
                  <a:pt x="999625" y="4422881"/>
                  <a:pt x="1243232" y="4295830"/>
                  <a:pt x="1404372" y="4198429"/>
                </a:cubicBezTo>
                <a:cubicBezTo>
                  <a:pt x="1565512" y="4101028"/>
                  <a:pt x="1683785" y="4017071"/>
                  <a:pt x="1795384" y="3887750"/>
                </a:cubicBezTo>
                <a:cubicBezTo>
                  <a:pt x="1906983" y="3758429"/>
                  <a:pt x="2002769" y="3583645"/>
                  <a:pt x="2073965" y="3422505"/>
                </a:cubicBezTo>
                <a:cubicBezTo>
                  <a:pt x="2145161" y="3261365"/>
                  <a:pt x="2177197" y="3140617"/>
                  <a:pt x="2222559" y="2920911"/>
                </a:cubicBezTo>
                <a:cubicBezTo>
                  <a:pt x="2267921" y="2701205"/>
                  <a:pt x="2320348" y="2360999"/>
                  <a:pt x="2346140" y="2104268"/>
                </a:cubicBezTo>
                <a:cubicBezTo>
                  <a:pt x="2371932" y="1847537"/>
                  <a:pt x="2379591" y="1617223"/>
                  <a:pt x="2377312" y="1380524"/>
                </a:cubicBezTo>
                <a:cubicBezTo>
                  <a:pt x="2375033" y="1143825"/>
                  <a:pt x="2362969" y="912434"/>
                  <a:pt x="2332464" y="684072"/>
                </a:cubicBezTo>
                <a:cubicBezTo>
                  <a:pt x="2301959" y="455711"/>
                  <a:pt x="2259237" y="166484"/>
                  <a:pt x="2194283" y="10355"/>
                </a:cubicBezTo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19500000" scaled="0"/>
            <a:tileRect/>
          </a:gra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8" name="Freeform 7"/>
          <p:cNvSpPr/>
          <p:nvPr userDrawn="1"/>
        </p:nvSpPr>
        <p:spPr bwMode="auto">
          <a:xfrm>
            <a:off x="4978174" y="-10913"/>
            <a:ext cx="1655714" cy="2415257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271813 w 2411361"/>
              <a:gd name="connsiteY0" fmla="*/ 0 h 3517549"/>
              <a:gd name="connsiteX1" fmla="*/ 51703 w 2411361"/>
              <a:gd name="connsiteY1" fmla="*/ 1398216 h 3517549"/>
              <a:gd name="connsiteX2" fmla="*/ 173473 w 2411361"/>
              <a:gd name="connsiteY2" fmla="*/ 3210121 h 3517549"/>
              <a:gd name="connsiteX3" fmla="*/ 462949 w 2411361"/>
              <a:gd name="connsiteY3" fmla="*/ 3475881 h 3517549"/>
              <a:gd name="connsiteX4" fmla="*/ 1006076 w 2411361"/>
              <a:gd name="connsiteY4" fmla="*/ 3460128 h 3517549"/>
              <a:gd name="connsiteX5" fmla="*/ 1606563 w 2411361"/>
              <a:gd name="connsiteY5" fmla="*/ 3186401 h 3517549"/>
              <a:gd name="connsiteX6" fmla="*/ 1942086 w 2411361"/>
              <a:gd name="connsiteY6" fmla="*/ 2875723 h 3517549"/>
              <a:gd name="connsiteX7" fmla="*/ 2208337 w 2411361"/>
              <a:gd name="connsiteY7" fmla="*/ 2410477 h 3517549"/>
              <a:gd name="connsiteX8" fmla="*/ 2344599 w 2411361"/>
              <a:gd name="connsiteY8" fmla="*/ 1791741 h 3517549"/>
              <a:gd name="connsiteX9" fmla="*/ 2400363 w 2411361"/>
              <a:gd name="connsiteY9" fmla="*/ 999760 h 3517549"/>
              <a:gd name="connsiteX10" fmla="*/ 2410590 w 2411361"/>
              <a:gd name="connsiteY10" fmla="*/ 232857 h 3517549"/>
              <a:gd name="connsiteX11" fmla="*/ 2398651 w 2411361"/>
              <a:gd name="connsiteY11" fmla="*/ 3284 h 3517549"/>
              <a:gd name="connsiteX12" fmla="*/ 404985 w 2411361"/>
              <a:gd name="connsiteY12" fmla="*/ 133172 h 3517549"/>
              <a:gd name="connsiteX0" fmla="*/ 271813 w 2411361"/>
              <a:gd name="connsiteY0" fmla="*/ 0 h 3517549"/>
              <a:gd name="connsiteX1" fmla="*/ 51703 w 2411361"/>
              <a:gd name="connsiteY1" fmla="*/ 1398216 h 3517549"/>
              <a:gd name="connsiteX2" fmla="*/ 173473 w 2411361"/>
              <a:gd name="connsiteY2" fmla="*/ 3210121 h 3517549"/>
              <a:gd name="connsiteX3" fmla="*/ 462949 w 2411361"/>
              <a:gd name="connsiteY3" fmla="*/ 3475881 h 3517549"/>
              <a:gd name="connsiteX4" fmla="*/ 1006076 w 2411361"/>
              <a:gd name="connsiteY4" fmla="*/ 3460128 h 3517549"/>
              <a:gd name="connsiteX5" fmla="*/ 1606563 w 2411361"/>
              <a:gd name="connsiteY5" fmla="*/ 3186401 h 3517549"/>
              <a:gd name="connsiteX6" fmla="*/ 1942086 w 2411361"/>
              <a:gd name="connsiteY6" fmla="*/ 2875723 h 3517549"/>
              <a:gd name="connsiteX7" fmla="*/ 2208337 w 2411361"/>
              <a:gd name="connsiteY7" fmla="*/ 2410477 h 3517549"/>
              <a:gd name="connsiteX8" fmla="*/ 2344599 w 2411361"/>
              <a:gd name="connsiteY8" fmla="*/ 1791741 h 3517549"/>
              <a:gd name="connsiteX9" fmla="*/ 2400363 w 2411361"/>
              <a:gd name="connsiteY9" fmla="*/ 999760 h 3517549"/>
              <a:gd name="connsiteX10" fmla="*/ 2410590 w 2411361"/>
              <a:gd name="connsiteY10" fmla="*/ 232857 h 3517549"/>
              <a:gd name="connsiteX11" fmla="*/ 2398651 w 2411361"/>
              <a:gd name="connsiteY11" fmla="*/ 3284 h 3517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11361" h="3517549">
                <a:moveTo>
                  <a:pt x="271813" y="0"/>
                </a:moveTo>
                <a:cubicBezTo>
                  <a:pt x="115543" y="556101"/>
                  <a:pt x="85267" y="1011259"/>
                  <a:pt x="51703" y="1398216"/>
                </a:cubicBezTo>
                <a:cubicBezTo>
                  <a:pt x="0" y="2724647"/>
                  <a:pt x="113238" y="3130152"/>
                  <a:pt x="173473" y="3210121"/>
                </a:cubicBezTo>
                <a:cubicBezTo>
                  <a:pt x="191225" y="3249723"/>
                  <a:pt x="299163" y="3405638"/>
                  <a:pt x="462949" y="3475881"/>
                </a:cubicBezTo>
                <a:cubicBezTo>
                  <a:pt x="617210" y="3517549"/>
                  <a:pt x="815474" y="3508375"/>
                  <a:pt x="1006076" y="3460128"/>
                </a:cubicBezTo>
                <a:cubicBezTo>
                  <a:pt x="1196678" y="3411881"/>
                  <a:pt x="1450561" y="3283802"/>
                  <a:pt x="1606563" y="3186401"/>
                </a:cubicBezTo>
                <a:cubicBezTo>
                  <a:pt x="1762565" y="3089000"/>
                  <a:pt x="1841790" y="3005044"/>
                  <a:pt x="1942086" y="2875723"/>
                </a:cubicBezTo>
                <a:cubicBezTo>
                  <a:pt x="2042382" y="2746402"/>
                  <a:pt x="2141252" y="2591141"/>
                  <a:pt x="2208337" y="2410477"/>
                </a:cubicBezTo>
                <a:cubicBezTo>
                  <a:pt x="2275423" y="2229813"/>
                  <a:pt x="2312595" y="2026860"/>
                  <a:pt x="2344599" y="1791741"/>
                </a:cubicBezTo>
                <a:cubicBezTo>
                  <a:pt x="2376603" y="1556622"/>
                  <a:pt x="2389365" y="1259574"/>
                  <a:pt x="2400363" y="999760"/>
                </a:cubicBezTo>
                <a:cubicBezTo>
                  <a:pt x="2411361" y="739946"/>
                  <a:pt x="2410875" y="398936"/>
                  <a:pt x="2410590" y="232857"/>
                </a:cubicBezTo>
                <a:cubicBezTo>
                  <a:pt x="2410305" y="66778"/>
                  <a:pt x="2407797" y="70865"/>
                  <a:pt x="2398651" y="3284"/>
                </a:cubicBezTo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19500000" scaled="0"/>
            <a:tileRect/>
          </a:gra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9" name="Freeform 8"/>
          <p:cNvSpPr/>
          <p:nvPr userDrawn="1"/>
        </p:nvSpPr>
        <p:spPr bwMode="auto">
          <a:xfrm>
            <a:off x="6887412" y="-854"/>
            <a:ext cx="1244389" cy="1432996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979328"/>
              <a:gd name="connsiteY0" fmla="*/ 3210121 h 3517549"/>
              <a:gd name="connsiteX1" fmla="*/ 462949 w 2979328"/>
              <a:gd name="connsiteY1" fmla="*/ 3475881 h 3517549"/>
              <a:gd name="connsiteX2" fmla="*/ 1006076 w 2979328"/>
              <a:gd name="connsiteY2" fmla="*/ 3460128 h 3517549"/>
              <a:gd name="connsiteX3" fmla="*/ 1606563 w 2979328"/>
              <a:gd name="connsiteY3" fmla="*/ 3186401 h 3517549"/>
              <a:gd name="connsiteX4" fmla="*/ 1942086 w 2979328"/>
              <a:gd name="connsiteY4" fmla="*/ 2875723 h 3517549"/>
              <a:gd name="connsiteX5" fmla="*/ 2208337 w 2979328"/>
              <a:gd name="connsiteY5" fmla="*/ 2410477 h 3517549"/>
              <a:gd name="connsiteX6" fmla="*/ 2344599 w 2979328"/>
              <a:gd name="connsiteY6" fmla="*/ 1791741 h 3517549"/>
              <a:gd name="connsiteX7" fmla="*/ 2400363 w 2979328"/>
              <a:gd name="connsiteY7" fmla="*/ 999760 h 3517549"/>
              <a:gd name="connsiteX8" fmla="*/ 2410590 w 2979328"/>
              <a:gd name="connsiteY8" fmla="*/ 232857 h 3517549"/>
              <a:gd name="connsiteX9" fmla="*/ 2970181 w 2979328"/>
              <a:gd name="connsiteY9" fmla="*/ 3284 h 3517549"/>
              <a:gd name="connsiteX10" fmla="*/ 271813 w 2979328"/>
              <a:gd name="connsiteY10" fmla="*/ 0 h 3517549"/>
              <a:gd name="connsiteX11" fmla="*/ 51703 w 2979328"/>
              <a:gd name="connsiteY11" fmla="*/ 1398216 h 3517549"/>
              <a:gd name="connsiteX12" fmla="*/ 173473 w 2979328"/>
              <a:gd name="connsiteY12" fmla="*/ 3210121 h 3517549"/>
              <a:gd name="connsiteX0" fmla="*/ 173473 w 3097874"/>
              <a:gd name="connsiteY0" fmla="*/ 3210121 h 3517549"/>
              <a:gd name="connsiteX1" fmla="*/ 462949 w 3097874"/>
              <a:gd name="connsiteY1" fmla="*/ 3475881 h 3517549"/>
              <a:gd name="connsiteX2" fmla="*/ 1006076 w 3097874"/>
              <a:gd name="connsiteY2" fmla="*/ 3460128 h 3517549"/>
              <a:gd name="connsiteX3" fmla="*/ 1606563 w 3097874"/>
              <a:gd name="connsiteY3" fmla="*/ 3186401 h 3517549"/>
              <a:gd name="connsiteX4" fmla="*/ 1942086 w 3097874"/>
              <a:gd name="connsiteY4" fmla="*/ 2875723 h 3517549"/>
              <a:gd name="connsiteX5" fmla="*/ 2208337 w 3097874"/>
              <a:gd name="connsiteY5" fmla="*/ 2410477 h 3517549"/>
              <a:gd name="connsiteX6" fmla="*/ 2344599 w 3097874"/>
              <a:gd name="connsiteY6" fmla="*/ 1791741 h 3517549"/>
              <a:gd name="connsiteX7" fmla="*/ 2400363 w 3097874"/>
              <a:gd name="connsiteY7" fmla="*/ 999760 h 3517549"/>
              <a:gd name="connsiteX8" fmla="*/ 3002905 w 3097874"/>
              <a:gd name="connsiteY8" fmla="*/ 232856 h 3517549"/>
              <a:gd name="connsiteX9" fmla="*/ 2970181 w 3097874"/>
              <a:gd name="connsiteY9" fmla="*/ 3284 h 3517549"/>
              <a:gd name="connsiteX10" fmla="*/ 271813 w 3097874"/>
              <a:gd name="connsiteY10" fmla="*/ 0 h 3517549"/>
              <a:gd name="connsiteX11" fmla="*/ 51703 w 3097874"/>
              <a:gd name="connsiteY11" fmla="*/ 1398216 h 3517549"/>
              <a:gd name="connsiteX12" fmla="*/ 173473 w 3097874"/>
              <a:gd name="connsiteY12" fmla="*/ 3210121 h 3517549"/>
              <a:gd name="connsiteX0" fmla="*/ 173473 w 3019265"/>
              <a:gd name="connsiteY0" fmla="*/ 3210121 h 3517549"/>
              <a:gd name="connsiteX1" fmla="*/ 462949 w 3019265"/>
              <a:gd name="connsiteY1" fmla="*/ 3475881 h 3517549"/>
              <a:gd name="connsiteX2" fmla="*/ 1006076 w 3019265"/>
              <a:gd name="connsiteY2" fmla="*/ 3460128 h 3517549"/>
              <a:gd name="connsiteX3" fmla="*/ 1606563 w 3019265"/>
              <a:gd name="connsiteY3" fmla="*/ 3186401 h 3517549"/>
              <a:gd name="connsiteX4" fmla="*/ 1942086 w 3019265"/>
              <a:gd name="connsiteY4" fmla="*/ 2875723 h 3517549"/>
              <a:gd name="connsiteX5" fmla="*/ 2208337 w 3019265"/>
              <a:gd name="connsiteY5" fmla="*/ 2410477 h 3517549"/>
              <a:gd name="connsiteX6" fmla="*/ 2344599 w 3019265"/>
              <a:gd name="connsiteY6" fmla="*/ 1791741 h 3517549"/>
              <a:gd name="connsiteX7" fmla="*/ 2909548 w 3019265"/>
              <a:gd name="connsiteY7" fmla="*/ 1249156 h 3517549"/>
              <a:gd name="connsiteX8" fmla="*/ 3002905 w 3019265"/>
              <a:gd name="connsiteY8" fmla="*/ 232856 h 3517549"/>
              <a:gd name="connsiteX9" fmla="*/ 2970181 w 3019265"/>
              <a:gd name="connsiteY9" fmla="*/ 3284 h 3517549"/>
              <a:gd name="connsiteX10" fmla="*/ 271813 w 3019265"/>
              <a:gd name="connsiteY10" fmla="*/ 0 h 3517549"/>
              <a:gd name="connsiteX11" fmla="*/ 51703 w 3019265"/>
              <a:gd name="connsiteY11" fmla="*/ 1398216 h 3517549"/>
              <a:gd name="connsiteX12" fmla="*/ 173473 w 3019265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208337 w 3013010"/>
              <a:gd name="connsiteY5" fmla="*/ 2410477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689070"/>
              <a:gd name="connsiteX1" fmla="*/ 462949 w 3013010"/>
              <a:gd name="connsiteY1" fmla="*/ 3475881 h 3689070"/>
              <a:gd name="connsiteX2" fmla="*/ 1006076 w 3013010"/>
              <a:gd name="connsiteY2" fmla="*/ 3460128 h 3689070"/>
              <a:gd name="connsiteX3" fmla="*/ 1959873 w 3013010"/>
              <a:gd name="connsiteY3" fmla="*/ 3591668 h 3689070"/>
              <a:gd name="connsiteX4" fmla="*/ 2160308 w 3013010"/>
              <a:gd name="connsiteY4" fmla="*/ 2875723 h 3689070"/>
              <a:gd name="connsiteX5" fmla="*/ 2530474 w 3013010"/>
              <a:gd name="connsiteY5" fmla="*/ 2410478 h 3689070"/>
              <a:gd name="connsiteX6" fmla="*/ 2791434 w 3013010"/>
              <a:gd name="connsiteY6" fmla="*/ 1791741 h 3689070"/>
              <a:gd name="connsiteX7" fmla="*/ 2909548 w 3013010"/>
              <a:gd name="connsiteY7" fmla="*/ 1249156 h 3689070"/>
              <a:gd name="connsiteX8" fmla="*/ 3002905 w 3013010"/>
              <a:gd name="connsiteY8" fmla="*/ 232856 h 3689070"/>
              <a:gd name="connsiteX9" fmla="*/ 2970181 w 3013010"/>
              <a:gd name="connsiteY9" fmla="*/ 3284 h 3689070"/>
              <a:gd name="connsiteX10" fmla="*/ 271813 w 3013010"/>
              <a:gd name="connsiteY10" fmla="*/ 0 h 3689070"/>
              <a:gd name="connsiteX11" fmla="*/ 51703 w 3013010"/>
              <a:gd name="connsiteY11" fmla="*/ 1398216 h 3689070"/>
              <a:gd name="connsiteX12" fmla="*/ 173473 w 3013010"/>
              <a:gd name="connsiteY12" fmla="*/ 3210121 h 3689070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679883 w 3013010"/>
              <a:gd name="connsiteY4" fmla="*/ 3073161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29134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459843"/>
              <a:gd name="connsiteY0" fmla="*/ 3210121 h 3517549"/>
              <a:gd name="connsiteX1" fmla="*/ 462949 w 3459843"/>
              <a:gd name="connsiteY1" fmla="*/ 3475881 h 3517549"/>
              <a:gd name="connsiteX2" fmla="*/ 1006076 w 3459843"/>
              <a:gd name="connsiteY2" fmla="*/ 3460128 h 3517549"/>
              <a:gd name="connsiteX3" fmla="*/ 1668913 w 3459843"/>
              <a:gd name="connsiteY3" fmla="*/ 3186400 h 3517549"/>
              <a:gd name="connsiteX4" fmla="*/ 2129134 w 3459843"/>
              <a:gd name="connsiteY4" fmla="*/ 2875723 h 3517549"/>
              <a:gd name="connsiteX5" fmla="*/ 2530474 w 3459843"/>
              <a:gd name="connsiteY5" fmla="*/ 2410478 h 3517549"/>
              <a:gd name="connsiteX6" fmla="*/ 2791434 w 3459843"/>
              <a:gd name="connsiteY6" fmla="*/ 1791741 h 3517549"/>
              <a:gd name="connsiteX7" fmla="*/ 2909548 w 3459843"/>
              <a:gd name="connsiteY7" fmla="*/ 1249156 h 3517549"/>
              <a:gd name="connsiteX8" fmla="*/ 3449739 w 3459843"/>
              <a:gd name="connsiteY8" fmla="*/ 690080 h 3517549"/>
              <a:gd name="connsiteX9" fmla="*/ 2970181 w 3459843"/>
              <a:gd name="connsiteY9" fmla="*/ 3284 h 3517549"/>
              <a:gd name="connsiteX10" fmla="*/ 271813 w 3459843"/>
              <a:gd name="connsiteY10" fmla="*/ 0 h 3517549"/>
              <a:gd name="connsiteX11" fmla="*/ 51703 w 3459843"/>
              <a:gd name="connsiteY11" fmla="*/ 1398216 h 3517549"/>
              <a:gd name="connsiteX12" fmla="*/ 173473 w 3459843"/>
              <a:gd name="connsiteY12" fmla="*/ 3210121 h 3517549"/>
              <a:gd name="connsiteX0" fmla="*/ 173473 w 2981836"/>
              <a:gd name="connsiteY0" fmla="*/ 3210121 h 3517549"/>
              <a:gd name="connsiteX1" fmla="*/ 462949 w 2981836"/>
              <a:gd name="connsiteY1" fmla="*/ 3475881 h 3517549"/>
              <a:gd name="connsiteX2" fmla="*/ 1006076 w 2981836"/>
              <a:gd name="connsiteY2" fmla="*/ 3460128 h 3517549"/>
              <a:gd name="connsiteX3" fmla="*/ 1668913 w 2981836"/>
              <a:gd name="connsiteY3" fmla="*/ 3186400 h 3517549"/>
              <a:gd name="connsiteX4" fmla="*/ 2129134 w 2981836"/>
              <a:gd name="connsiteY4" fmla="*/ 2875723 h 3517549"/>
              <a:gd name="connsiteX5" fmla="*/ 2530474 w 2981836"/>
              <a:gd name="connsiteY5" fmla="*/ 2410478 h 3517549"/>
              <a:gd name="connsiteX6" fmla="*/ 2791434 w 2981836"/>
              <a:gd name="connsiteY6" fmla="*/ 1791741 h 3517549"/>
              <a:gd name="connsiteX7" fmla="*/ 2909548 w 2981836"/>
              <a:gd name="connsiteY7" fmla="*/ 1249156 h 3517549"/>
              <a:gd name="connsiteX8" fmla="*/ 2971730 w 2981836"/>
              <a:gd name="connsiteY8" fmla="*/ 565382 h 3517549"/>
              <a:gd name="connsiteX9" fmla="*/ 2970181 w 2981836"/>
              <a:gd name="connsiteY9" fmla="*/ 3284 h 3517549"/>
              <a:gd name="connsiteX10" fmla="*/ 271813 w 2981836"/>
              <a:gd name="connsiteY10" fmla="*/ 0 h 3517549"/>
              <a:gd name="connsiteX11" fmla="*/ 51703 w 2981836"/>
              <a:gd name="connsiteY11" fmla="*/ 1398216 h 3517549"/>
              <a:gd name="connsiteX12" fmla="*/ 173473 w 2981836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85554 w 3115687"/>
              <a:gd name="connsiteY11" fmla="*/ 1398216 h 3517549"/>
              <a:gd name="connsiteX12" fmla="*/ 307324 w 3115687"/>
              <a:gd name="connsiteY12" fmla="*/ 3210121 h 3517549"/>
              <a:gd name="connsiteX0" fmla="*/ 713829 w 3522192"/>
              <a:gd name="connsiteY0" fmla="*/ 3210121 h 3517549"/>
              <a:gd name="connsiteX1" fmla="*/ 1003305 w 3522192"/>
              <a:gd name="connsiteY1" fmla="*/ 3475881 h 3517549"/>
              <a:gd name="connsiteX2" fmla="*/ 1546432 w 3522192"/>
              <a:gd name="connsiteY2" fmla="*/ 3460128 h 3517549"/>
              <a:gd name="connsiteX3" fmla="*/ 2209269 w 3522192"/>
              <a:gd name="connsiteY3" fmla="*/ 3186400 h 3517549"/>
              <a:gd name="connsiteX4" fmla="*/ 2669490 w 3522192"/>
              <a:gd name="connsiteY4" fmla="*/ 2875723 h 3517549"/>
              <a:gd name="connsiteX5" fmla="*/ 3070830 w 3522192"/>
              <a:gd name="connsiteY5" fmla="*/ 2410478 h 3517549"/>
              <a:gd name="connsiteX6" fmla="*/ 3331790 w 3522192"/>
              <a:gd name="connsiteY6" fmla="*/ 1791741 h 3517549"/>
              <a:gd name="connsiteX7" fmla="*/ 3449904 w 3522192"/>
              <a:gd name="connsiteY7" fmla="*/ 1249156 h 3517549"/>
              <a:gd name="connsiteX8" fmla="*/ 3512086 w 3522192"/>
              <a:gd name="connsiteY8" fmla="*/ 565382 h 3517549"/>
              <a:gd name="connsiteX9" fmla="*/ 3510537 w 3522192"/>
              <a:gd name="connsiteY9" fmla="*/ 3284 h 3517549"/>
              <a:gd name="connsiteX10" fmla="*/ 562775 w 3522192"/>
              <a:gd name="connsiteY10" fmla="*/ 0 h 3517549"/>
              <a:gd name="connsiteX11" fmla="*/ 51703 w 3522192"/>
              <a:gd name="connsiteY11" fmla="*/ 1398216 h 3517549"/>
              <a:gd name="connsiteX12" fmla="*/ 713829 w 3522192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443652 w 3252015"/>
              <a:gd name="connsiteY0" fmla="*/ 3210121 h 3517549"/>
              <a:gd name="connsiteX1" fmla="*/ 733128 w 3252015"/>
              <a:gd name="connsiteY1" fmla="*/ 3475881 h 3517549"/>
              <a:gd name="connsiteX2" fmla="*/ 1276255 w 3252015"/>
              <a:gd name="connsiteY2" fmla="*/ 3460128 h 3517549"/>
              <a:gd name="connsiteX3" fmla="*/ 1939092 w 3252015"/>
              <a:gd name="connsiteY3" fmla="*/ 3186400 h 3517549"/>
              <a:gd name="connsiteX4" fmla="*/ 2399313 w 3252015"/>
              <a:gd name="connsiteY4" fmla="*/ 2875723 h 3517549"/>
              <a:gd name="connsiteX5" fmla="*/ 2800653 w 3252015"/>
              <a:gd name="connsiteY5" fmla="*/ 2410478 h 3517549"/>
              <a:gd name="connsiteX6" fmla="*/ 3061613 w 3252015"/>
              <a:gd name="connsiteY6" fmla="*/ 1791741 h 3517549"/>
              <a:gd name="connsiteX7" fmla="*/ 3179727 w 3252015"/>
              <a:gd name="connsiteY7" fmla="*/ 1249156 h 3517549"/>
              <a:gd name="connsiteX8" fmla="*/ 3241909 w 3252015"/>
              <a:gd name="connsiteY8" fmla="*/ 565382 h 3517549"/>
              <a:gd name="connsiteX9" fmla="*/ 3240360 w 3252015"/>
              <a:gd name="connsiteY9" fmla="*/ 3284 h 3517549"/>
              <a:gd name="connsiteX10" fmla="*/ 292598 w 3252015"/>
              <a:gd name="connsiteY10" fmla="*/ 0 h 3517549"/>
              <a:gd name="connsiteX11" fmla="*/ 51703 w 3252015"/>
              <a:gd name="connsiteY11" fmla="*/ 1398216 h 3517549"/>
              <a:gd name="connsiteX12" fmla="*/ 443652 w 3252015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95161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438080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126335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126335 w 3054578"/>
              <a:gd name="connsiteY0" fmla="*/ 0 h 3517549"/>
              <a:gd name="connsiteX1" fmla="*/ 51703 w 3054578"/>
              <a:gd name="connsiteY1" fmla="*/ 1398216 h 3517549"/>
              <a:gd name="connsiteX2" fmla="*/ 246215 w 3054578"/>
              <a:gd name="connsiteY2" fmla="*/ 3210121 h 3517549"/>
              <a:gd name="connsiteX3" fmla="*/ 535691 w 3054578"/>
              <a:gd name="connsiteY3" fmla="*/ 3475881 h 3517549"/>
              <a:gd name="connsiteX4" fmla="*/ 1078818 w 3054578"/>
              <a:gd name="connsiteY4" fmla="*/ 3460128 h 3517549"/>
              <a:gd name="connsiteX5" fmla="*/ 1741655 w 3054578"/>
              <a:gd name="connsiteY5" fmla="*/ 3186400 h 3517549"/>
              <a:gd name="connsiteX6" fmla="*/ 2201876 w 3054578"/>
              <a:gd name="connsiteY6" fmla="*/ 2875723 h 3517549"/>
              <a:gd name="connsiteX7" fmla="*/ 2603216 w 3054578"/>
              <a:gd name="connsiteY7" fmla="*/ 2410478 h 3517549"/>
              <a:gd name="connsiteX8" fmla="*/ 2864176 w 3054578"/>
              <a:gd name="connsiteY8" fmla="*/ 1791741 h 3517549"/>
              <a:gd name="connsiteX9" fmla="*/ 2982290 w 3054578"/>
              <a:gd name="connsiteY9" fmla="*/ 1249156 h 3517549"/>
              <a:gd name="connsiteX10" fmla="*/ 3044472 w 3054578"/>
              <a:gd name="connsiteY10" fmla="*/ 565382 h 3517549"/>
              <a:gd name="connsiteX11" fmla="*/ 3042923 w 3054578"/>
              <a:gd name="connsiteY11" fmla="*/ 3284 h 3517549"/>
              <a:gd name="connsiteX12" fmla="*/ 350791 w 3054578"/>
              <a:gd name="connsiteY12" fmla="*/ 224456 h 3517549"/>
              <a:gd name="connsiteX0" fmla="*/ 126335 w 3054578"/>
              <a:gd name="connsiteY0" fmla="*/ 0 h 3517549"/>
              <a:gd name="connsiteX1" fmla="*/ 51703 w 3054578"/>
              <a:gd name="connsiteY1" fmla="*/ 1398216 h 3517549"/>
              <a:gd name="connsiteX2" fmla="*/ 246215 w 3054578"/>
              <a:gd name="connsiteY2" fmla="*/ 3210121 h 3517549"/>
              <a:gd name="connsiteX3" fmla="*/ 535691 w 3054578"/>
              <a:gd name="connsiteY3" fmla="*/ 3475881 h 3517549"/>
              <a:gd name="connsiteX4" fmla="*/ 1078818 w 3054578"/>
              <a:gd name="connsiteY4" fmla="*/ 3460128 h 3517549"/>
              <a:gd name="connsiteX5" fmla="*/ 1741655 w 3054578"/>
              <a:gd name="connsiteY5" fmla="*/ 3186400 h 3517549"/>
              <a:gd name="connsiteX6" fmla="*/ 2201876 w 3054578"/>
              <a:gd name="connsiteY6" fmla="*/ 2875723 h 3517549"/>
              <a:gd name="connsiteX7" fmla="*/ 2603216 w 3054578"/>
              <a:gd name="connsiteY7" fmla="*/ 2410478 h 3517549"/>
              <a:gd name="connsiteX8" fmla="*/ 2864176 w 3054578"/>
              <a:gd name="connsiteY8" fmla="*/ 1791741 h 3517549"/>
              <a:gd name="connsiteX9" fmla="*/ 2982290 w 3054578"/>
              <a:gd name="connsiteY9" fmla="*/ 1249156 h 3517549"/>
              <a:gd name="connsiteX10" fmla="*/ 3044472 w 3054578"/>
              <a:gd name="connsiteY10" fmla="*/ 565382 h 3517549"/>
              <a:gd name="connsiteX11" fmla="*/ 3042923 w 3054578"/>
              <a:gd name="connsiteY11" fmla="*/ 3284 h 3517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054578" h="3517549">
                <a:moveTo>
                  <a:pt x="126335" y="0"/>
                </a:moveTo>
                <a:cubicBezTo>
                  <a:pt x="84372" y="587275"/>
                  <a:pt x="54094" y="938521"/>
                  <a:pt x="51703" y="1398216"/>
                </a:cubicBezTo>
                <a:cubicBezTo>
                  <a:pt x="0" y="2545850"/>
                  <a:pt x="185980" y="3130152"/>
                  <a:pt x="246215" y="3210121"/>
                </a:cubicBezTo>
                <a:cubicBezTo>
                  <a:pt x="263967" y="3249723"/>
                  <a:pt x="371905" y="3405638"/>
                  <a:pt x="535691" y="3475881"/>
                </a:cubicBezTo>
                <a:cubicBezTo>
                  <a:pt x="689952" y="3517549"/>
                  <a:pt x="877824" y="3508375"/>
                  <a:pt x="1078818" y="3460128"/>
                </a:cubicBezTo>
                <a:cubicBezTo>
                  <a:pt x="1279812" y="3411881"/>
                  <a:pt x="1554479" y="3283801"/>
                  <a:pt x="1741655" y="3186400"/>
                </a:cubicBezTo>
                <a:cubicBezTo>
                  <a:pt x="1928831" y="3088999"/>
                  <a:pt x="2058283" y="3005043"/>
                  <a:pt x="2201876" y="2875723"/>
                </a:cubicBezTo>
                <a:cubicBezTo>
                  <a:pt x="2345469" y="2746403"/>
                  <a:pt x="2492833" y="2591142"/>
                  <a:pt x="2603216" y="2410478"/>
                </a:cubicBezTo>
                <a:cubicBezTo>
                  <a:pt x="2713599" y="2229814"/>
                  <a:pt x="2800997" y="1985295"/>
                  <a:pt x="2864176" y="1791741"/>
                </a:cubicBezTo>
                <a:cubicBezTo>
                  <a:pt x="2927355" y="1598187"/>
                  <a:pt x="2952241" y="1453549"/>
                  <a:pt x="2982290" y="1249156"/>
                </a:cubicBezTo>
                <a:cubicBezTo>
                  <a:pt x="3012339" y="1044763"/>
                  <a:pt x="3034367" y="773027"/>
                  <a:pt x="3044472" y="565382"/>
                </a:cubicBezTo>
                <a:cubicBezTo>
                  <a:pt x="3054577" y="357737"/>
                  <a:pt x="3052069" y="70865"/>
                  <a:pt x="3042923" y="3284"/>
                </a:cubicBezTo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19500000" scaled="0"/>
            <a:tileRect/>
          </a:gra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10" name="Freeform 9"/>
          <p:cNvSpPr>
            <a:spLocks noChangeAspect="1"/>
          </p:cNvSpPr>
          <p:nvPr userDrawn="1"/>
        </p:nvSpPr>
        <p:spPr bwMode="auto">
          <a:xfrm>
            <a:off x="8385029" y="1"/>
            <a:ext cx="786274" cy="664251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100149 h 5213384"/>
              <a:gd name="connsiteX6" fmla="*/ 2108729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20041"/>
              <a:gd name="connsiteY0" fmla="*/ 4899793 h 5213384"/>
              <a:gd name="connsiteX1" fmla="*/ 264070 w 2420041"/>
              <a:gd name="connsiteY1" fmla="*/ 5171716 h 5213384"/>
              <a:gd name="connsiteX2" fmla="*/ 714716 w 2420041"/>
              <a:gd name="connsiteY2" fmla="*/ 5149799 h 5213384"/>
              <a:gd name="connsiteX3" fmla="*/ 1280070 w 2420041"/>
              <a:gd name="connsiteY3" fmla="*/ 4860362 h 5213384"/>
              <a:gd name="connsiteX4" fmla="*/ 1681554 w 2420041"/>
              <a:gd name="connsiteY4" fmla="*/ 4565394 h 5213384"/>
              <a:gd name="connsiteX5" fmla="*/ 1960135 w 2420041"/>
              <a:gd name="connsiteY5" fmla="*/ 4100149 h 5213384"/>
              <a:gd name="connsiteX6" fmla="*/ 2108729 w 2420041"/>
              <a:gd name="connsiteY6" fmla="*/ 3598555 h 5213384"/>
              <a:gd name="connsiteX7" fmla="*/ 2232310 w 2420041"/>
              <a:gd name="connsiteY7" fmla="*/ 2781912 h 5213384"/>
              <a:gd name="connsiteX8" fmla="*/ 2394393 w 2420041"/>
              <a:gd name="connsiteY8" fmla="*/ 2058168 h 5213384"/>
              <a:gd name="connsiteX9" fmla="*/ 2386199 w 2420041"/>
              <a:gd name="connsiteY9" fmla="*/ 1361716 h 5213384"/>
              <a:gd name="connsiteX10" fmla="*/ 2337038 w 2420041"/>
              <a:gd name="connsiteY10" fmla="*/ 771781 h 5213384"/>
              <a:gd name="connsiteX11" fmla="*/ 2205941 w 2420041"/>
              <a:gd name="connsiteY11" fmla="*/ 362104 h 5213384"/>
              <a:gd name="connsiteX12" fmla="*/ 2017490 w 2420041"/>
              <a:gd name="connsiteY12" fmla="*/ 108104 h 5213384"/>
              <a:gd name="connsiteX13" fmla="*/ 1706135 w 2420041"/>
              <a:gd name="connsiteY13" fmla="*/ 9781 h 5213384"/>
              <a:gd name="connsiteX14" fmla="*/ 1264912 w 2420041"/>
              <a:gd name="connsiteY14" fmla="*/ 49417 h 5213384"/>
              <a:gd name="connsiteX15" fmla="*/ 845812 w 2420041"/>
              <a:gd name="connsiteY15" fmla="*/ 181845 h 5213384"/>
              <a:gd name="connsiteX16" fmla="*/ 501683 w 2420041"/>
              <a:gd name="connsiteY16" fmla="*/ 394878 h 5213384"/>
              <a:gd name="connsiteX17" fmla="*/ 214909 w 2420041"/>
              <a:gd name="connsiteY17" fmla="*/ 763587 h 5213384"/>
              <a:gd name="connsiteX18" fmla="*/ 16420 w 2420041"/>
              <a:gd name="connsiteY18" fmla="*/ 1443652 h 5213384"/>
              <a:gd name="connsiteX19" fmla="*/ 17752 w 2420041"/>
              <a:gd name="connsiteY19" fmla="*/ 4899793 h 5213384"/>
              <a:gd name="connsiteX0" fmla="*/ 17752 w 2401949"/>
              <a:gd name="connsiteY0" fmla="*/ 4899793 h 5213384"/>
              <a:gd name="connsiteX1" fmla="*/ 264070 w 2401949"/>
              <a:gd name="connsiteY1" fmla="*/ 5171716 h 5213384"/>
              <a:gd name="connsiteX2" fmla="*/ 714716 w 2401949"/>
              <a:gd name="connsiteY2" fmla="*/ 5149799 h 5213384"/>
              <a:gd name="connsiteX3" fmla="*/ 1280070 w 2401949"/>
              <a:gd name="connsiteY3" fmla="*/ 4860362 h 5213384"/>
              <a:gd name="connsiteX4" fmla="*/ 1681554 w 2401949"/>
              <a:gd name="connsiteY4" fmla="*/ 4565394 h 5213384"/>
              <a:gd name="connsiteX5" fmla="*/ 1960135 w 2401949"/>
              <a:gd name="connsiteY5" fmla="*/ 4100149 h 5213384"/>
              <a:gd name="connsiteX6" fmla="*/ 2108729 w 2401949"/>
              <a:gd name="connsiteY6" fmla="*/ 3598555 h 5213384"/>
              <a:gd name="connsiteX7" fmla="*/ 2232310 w 2401949"/>
              <a:gd name="connsiteY7" fmla="*/ 2781912 h 5213384"/>
              <a:gd name="connsiteX8" fmla="*/ 2242536 w 2401949"/>
              <a:gd name="connsiteY8" fmla="*/ 2058168 h 5213384"/>
              <a:gd name="connsiteX9" fmla="*/ 2386199 w 2401949"/>
              <a:gd name="connsiteY9" fmla="*/ 1361716 h 5213384"/>
              <a:gd name="connsiteX10" fmla="*/ 2337038 w 2401949"/>
              <a:gd name="connsiteY10" fmla="*/ 771781 h 5213384"/>
              <a:gd name="connsiteX11" fmla="*/ 2205941 w 2401949"/>
              <a:gd name="connsiteY11" fmla="*/ 362104 h 5213384"/>
              <a:gd name="connsiteX12" fmla="*/ 2017490 w 2401949"/>
              <a:gd name="connsiteY12" fmla="*/ 108104 h 5213384"/>
              <a:gd name="connsiteX13" fmla="*/ 1706135 w 2401949"/>
              <a:gd name="connsiteY13" fmla="*/ 9781 h 5213384"/>
              <a:gd name="connsiteX14" fmla="*/ 1264912 w 2401949"/>
              <a:gd name="connsiteY14" fmla="*/ 49417 h 5213384"/>
              <a:gd name="connsiteX15" fmla="*/ 845812 w 2401949"/>
              <a:gd name="connsiteY15" fmla="*/ 181845 h 5213384"/>
              <a:gd name="connsiteX16" fmla="*/ 501683 w 2401949"/>
              <a:gd name="connsiteY16" fmla="*/ 394878 h 5213384"/>
              <a:gd name="connsiteX17" fmla="*/ 214909 w 2401949"/>
              <a:gd name="connsiteY17" fmla="*/ 763587 h 5213384"/>
              <a:gd name="connsiteX18" fmla="*/ 16420 w 2401949"/>
              <a:gd name="connsiteY18" fmla="*/ 1443652 h 5213384"/>
              <a:gd name="connsiteX19" fmla="*/ 17752 w 2401949"/>
              <a:gd name="connsiteY19" fmla="*/ 4899793 h 5213384"/>
              <a:gd name="connsiteX0" fmla="*/ 17752 w 2339154"/>
              <a:gd name="connsiteY0" fmla="*/ 4899793 h 5213384"/>
              <a:gd name="connsiteX1" fmla="*/ 264070 w 2339154"/>
              <a:gd name="connsiteY1" fmla="*/ 5171716 h 5213384"/>
              <a:gd name="connsiteX2" fmla="*/ 714716 w 2339154"/>
              <a:gd name="connsiteY2" fmla="*/ 5149799 h 5213384"/>
              <a:gd name="connsiteX3" fmla="*/ 1280070 w 2339154"/>
              <a:gd name="connsiteY3" fmla="*/ 4860362 h 5213384"/>
              <a:gd name="connsiteX4" fmla="*/ 1681554 w 2339154"/>
              <a:gd name="connsiteY4" fmla="*/ 4565394 h 5213384"/>
              <a:gd name="connsiteX5" fmla="*/ 1960135 w 2339154"/>
              <a:gd name="connsiteY5" fmla="*/ 4100149 h 5213384"/>
              <a:gd name="connsiteX6" fmla="*/ 2108729 w 2339154"/>
              <a:gd name="connsiteY6" fmla="*/ 3598555 h 5213384"/>
              <a:gd name="connsiteX7" fmla="*/ 2232310 w 2339154"/>
              <a:gd name="connsiteY7" fmla="*/ 2781912 h 5213384"/>
              <a:gd name="connsiteX8" fmla="*/ 2242536 w 2339154"/>
              <a:gd name="connsiteY8" fmla="*/ 2058168 h 5213384"/>
              <a:gd name="connsiteX9" fmla="*/ 2218634 w 2339154"/>
              <a:gd name="connsiteY9" fmla="*/ 1361716 h 5213384"/>
              <a:gd name="connsiteX10" fmla="*/ 2337038 w 2339154"/>
              <a:gd name="connsiteY10" fmla="*/ 771781 h 5213384"/>
              <a:gd name="connsiteX11" fmla="*/ 2205941 w 2339154"/>
              <a:gd name="connsiteY11" fmla="*/ 362104 h 5213384"/>
              <a:gd name="connsiteX12" fmla="*/ 2017490 w 2339154"/>
              <a:gd name="connsiteY12" fmla="*/ 108104 h 5213384"/>
              <a:gd name="connsiteX13" fmla="*/ 1706135 w 2339154"/>
              <a:gd name="connsiteY13" fmla="*/ 9781 h 5213384"/>
              <a:gd name="connsiteX14" fmla="*/ 1264912 w 2339154"/>
              <a:gd name="connsiteY14" fmla="*/ 49417 h 5213384"/>
              <a:gd name="connsiteX15" fmla="*/ 845812 w 2339154"/>
              <a:gd name="connsiteY15" fmla="*/ 181845 h 5213384"/>
              <a:gd name="connsiteX16" fmla="*/ 501683 w 2339154"/>
              <a:gd name="connsiteY16" fmla="*/ 394878 h 5213384"/>
              <a:gd name="connsiteX17" fmla="*/ 214909 w 2339154"/>
              <a:gd name="connsiteY17" fmla="*/ 763587 h 5213384"/>
              <a:gd name="connsiteX18" fmla="*/ 16420 w 2339154"/>
              <a:gd name="connsiteY18" fmla="*/ 1443652 h 5213384"/>
              <a:gd name="connsiteX19" fmla="*/ 17752 w 2339154"/>
              <a:gd name="connsiteY19" fmla="*/ 4899793 h 5213384"/>
              <a:gd name="connsiteX0" fmla="*/ 17752 w 2254611"/>
              <a:gd name="connsiteY0" fmla="*/ 4899793 h 5213384"/>
              <a:gd name="connsiteX1" fmla="*/ 264070 w 2254611"/>
              <a:gd name="connsiteY1" fmla="*/ 5171716 h 5213384"/>
              <a:gd name="connsiteX2" fmla="*/ 714716 w 2254611"/>
              <a:gd name="connsiteY2" fmla="*/ 5149799 h 5213384"/>
              <a:gd name="connsiteX3" fmla="*/ 1280070 w 2254611"/>
              <a:gd name="connsiteY3" fmla="*/ 4860362 h 5213384"/>
              <a:gd name="connsiteX4" fmla="*/ 1681554 w 2254611"/>
              <a:gd name="connsiteY4" fmla="*/ 4565394 h 5213384"/>
              <a:gd name="connsiteX5" fmla="*/ 1960135 w 2254611"/>
              <a:gd name="connsiteY5" fmla="*/ 4100149 h 5213384"/>
              <a:gd name="connsiteX6" fmla="*/ 2108729 w 2254611"/>
              <a:gd name="connsiteY6" fmla="*/ 3598555 h 5213384"/>
              <a:gd name="connsiteX7" fmla="*/ 2232310 w 2254611"/>
              <a:gd name="connsiteY7" fmla="*/ 2781912 h 5213384"/>
              <a:gd name="connsiteX8" fmla="*/ 2242536 w 2254611"/>
              <a:gd name="connsiteY8" fmla="*/ 2058168 h 5213384"/>
              <a:gd name="connsiteX9" fmla="*/ 2218634 w 2254611"/>
              <a:gd name="connsiteY9" fmla="*/ 1361716 h 5213384"/>
              <a:gd name="connsiteX10" fmla="*/ 2080453 w 2254611"/>
              <a:gd name="connsiteY10" fmla="*/ 687999 h 5213384"/>
              <a:gd name="connsiteX11" fmla="*/ 2205941 w 2254611"/>
              <a:gd name="connsiteY11" fmla="*/ 362104 h 5213384"/>
              <a:gd name="connsiteX12" fmla="*/ 2017490 w 2254611"/>
              <a:gd name="connsiteY12" fmla="*/ 108104 h 5213384"/>
              <a:gd name="connsiteX13" fmla="*/ 1706135 w 2254611"/>
              <a:gd name="connsiteY13" fmla="*/ 9781 h 5213384"/>
              <a:gd name="connsiteX14" fmla="*/ 1264912 w 2254611"/>
              <a:gd name="connsiteY14" fmla="*/ 49417 h 5213384"/>
              <a:gd name="connsiteX15" fmla="*/ 845812 w 2254611"/>
              <a:gd name="connsiteY15" fmla="*/ 181845 h 5213384"/>
              <a:gd name="connsiteX16" fmla="*/ 501683 w 2254611"/>
              <a:gd name="connsiteY16" fmla="*/ 394878 h 5213384"/>
              <a:gd name="connsiteX17" fmla="*/ 214909 w 2254611"/>
              <a:gd name="connsiteY17" fmla="*/ 763587 h 5213384"/>
              <a:gd name="connsiteX18" fmla="*/ 16420 w 2254611"/>
              <a:gd name="connsiteY18" fmla="*/ 1443652 h 5213384"/>
              <a:gd name="connsiteX19" fmla="*/ 17752 w 2254611"/>
              <a:gd name="connsiteY19" fmla="*/ 4899793 h 5213384"/>
              <a:gd name="connsiteX0" fmla="*/ 17752 w 2254611"/>
              <a:gd name="connsiteY0" fmla="*/ 4904725 h 5218316"/>
              <a:gd name="connsiteX1" fmla="*/ 264070 w 2254611"/>
              <a:gd name="connsiteY1" fmla="*/ 5176648 h 5218316"/>
              <a:gd name="connsiteX2" fmla="*/ 714716 w 2254611"/>
              <a:gd name="connsiteY2" fmla="*/ 5154731 h 5218316"/>
              <a:gd name="connsiteX3" fmla="*/ 1280070 w 2254611"/>
              <a:gd name="connsiteY3" fmla="*/ 4865294 h 5218316"/>
              <a:gd name="connsiteX4" fmla="*/ 1681554 w 2254611"/>
              <a:gd name="connsiteY4" fmla="*/ 4570326 h 5218316"/>
              <a:gd name="connsiteX5" fmla="*/ 1960135 w 2254611"/>
              <a:gd name="connsiteY5" fmla="*/ 4105081 h 5218316"/>
              <a:gd name="connsiteX6" fmla="*/ 2108729 w 2254611"/>
              <a:gd name="connsiteY6" fmla="*/ 3603487 h 5218316"/>
              <a:gd name="connsiteX7" fmla="*/ 2232310 w 2254611"/>
              <a:gd name="connsiteY7" fmla="*/ 2786844 h 5218316"/>
              <a:gd name="connsiteX8" fmla="*/ 2242536 w 2254611"/>
              <a:gd name="connsiteY8" fmla="*/ 2063100 h 5218316"/>
              <a:gd name="connsiteX9" fmla="*/ 2218634 w 2254611"/>
              <a:gd name="connsiteY9" fmla="*/ 1366648 h 5218316"/>
              <a:gd name="connsiteX10" fmla="*/ 2080453 w 2254611"/>
              <a:gd name="connsiteY10" fmla="*/ 692931 h 5218316"/>
              <a:gd name="connsiteX11" fmla="*/ 2017490 w 2254611"/>
              <a:gd name="connsiteY11" fmla="*/ 113036 h 5218316"/>
              <a:gd name="connsiteX12" fmla="*/ 1706135 w 2254611"/>
              <a:gd name="connsiteY12" fmla="*/ 14713 h 5218316"/>
              <a:gd name="connsiteX13" fmla="*/ 1264912 w 2254611"/>
              <a:gd name="connsiteY13" fmla="*/ 54349 h 5218316"/>
              <a:gd name="connsiteX14" fmla="*/ 845812 w 2254611"/>
              <a:gd name="connsiteY14" fmla="*/ 186777 h 5218316"/>
              <a:gd name="connsiteX15" fmla="*/ 501683 w 2254611"/>
              <a:gd name="connsiteY15" fmla="*/ 399810 h 5218316"/>
              <a:gd name="connsiteX16" fmla="*/ 214909 w 2254611"/>
              <a:gd name="connsiteY16" fmla="*/ 768519 h 5218316"/>
              <a:gd name="connsiteX17" fmla="*/ 16420 w 2254611"/>
              <a:gd name="connsiteY17" fmla="*/ 1448584 h 5218316"/>
              <a:gd name="connsiteX18" fmla="*/ 17752 w 2254611"/>
              <a:gd name="connsiteY18" fmla="*/ 4904725 h 5218316"/>
              <a:gd name="connsiteX0" fmla="*/ 17752 w 2254611"/>
              <a:gd name="connsiteY0" fmla="*/ 4996442 h 5310033"/>
              <a:gd name="connsiteX1" fmla="*/ 264070 w 2254611"/>
              <a:gd name="connsiteY1" fmla="*/ 5268365 h 5310033"/>
              <a:gd name="connsiteX2" fmla="*/ 714716 w 2254611"/>
              <a:gd name="connsiteY2" fmla="*/ 5246448 h 5310033"/>
              <a:gd name="connsiteX3" fmla="*/ 1280070 w 2254611"/>
              <a:gd name="connsiteY3" fmla="*/ 4957011 h 5310033"/>
              <a:gd name="connsiteX4" fmla="*/ 1681554 w 2254611"/>
              <a:gd name="connsiteY4" fmla="*/ 4662043 h 5310033"/>
              <a:gd name="connsiteX5" fmla="*/ 1960135 w 2254611"/>
              <a:gd name="connsiteY5" fmla="*/ 4196798 h 5310033"/>
              <a:gd name="connsiteX6" fmla="*/ 2108729 w 2254611"/>
              <a:gd name="connsiteY6" fmla="*/ 3695204 h 5310033"/>
              <a:gd name="connsiteX7" fmla="*/ 2232310 w 2254611"/>
              <a:gd name="connsiteY7" fmla="*/ 2878561 h 5310033"/>
              <a:gd name="connsiteX8" fmla="*/ 2242536 w 2254611"/>
              <a:gd name="connsiteY8" fmla="*/ 2154817 h 5310033"/>
              <a:gd name="connsiteX9" fmla="*/ 2218634 w 2254611"/>
              <a:gd name="connsiteY9" fmla="*/ 1458365 h 5310033"/>
              <a:gd name="connsiteX10" fmla="*/ 2080453 w 2254611"/>
              <a:gd name="connsiteY10" fmla="*/ 784648 h 5310033"/>
              <a:gd name="connsiteX11" fmla="*/ 1706135 w 2254611"/>
              <a:gd name="connsiteY11" fmla="*/ 106430 h 5310033"/>
              <a:gd name="connsiteX12" fmla="*/ 1264912 w 2254611"/>
              <a:gd name="connsiteY12" fmla="*/ 146066 h 5310033"/>
              <a:gd name="connsiteX13" fmla="*/ 845812 w 2254611"/>
              <a:gd name="connsiteY13" fmla="*/ 278494 h 5310033"/>
              <a:gd name="connsiteX14" fmla="*/ 501683 w 2254611"/>
              <a:gd name="connsiteY14" fmla="*/ 491527 h 5310033"/>
              <a:gd name="connsiteX15" fmla="*/ 214909 w 2254611"/>
              <a:gd name="connsiteY15" fmla="*/ 860236 h 5310033"/>
              <a:gd name="connsiteX16" fmla="*/ 16420 w 2254611"/>
              <a:gd name="connsiteY16" fmla="*/ 1540301 h 5310033"/>
              <a:gd name="connsiteX17" fmla="*/ 17752 w 2254611"/>
              <a:gd name="connsiteY17" fmla="*/ 4996442 h 5310033"/>
              <a:gd name="connsiteX0" fmla="*/ 17752 w 2254611"/>
              <a:gd name="connsiteY0" fmla="*/ 4892390 h 5205981"/>
              <a:gd name="connsiteX1" fmla="*/ 264070 w 2254611"/>
              <a:gd name="connsiteY1" fmla="*/ 5164313 h 5205981"/>
              <a:gd name="connsiteX2" fmla="*/ 714716 w 2254611"/>
              <a:gd name="connsiteY2" fmla="*/ 5142396 h 5205981"/>
              <a:gd name="connsiteX3" fmla="*/ 1280070 w 2254611"/>
              <a:gd name="connsiteY3" fmla="*/ 4852959 h 5205981"/>
              <a:gd name="connsiteX4" fmla="*/ 1681554 w 2254611"/>
              <a:gd name="connsiteY4" fmla="*/ 4557991 h 5205981"/>
              <a:gd name="connsiteX5" fmla="*/ 1960135 w 2254611"/>
              <a:gd name="connsiteY5" fmla="*/ 4092746 h 5205981"/>
              <a:gd name="connsiteX6" fmla="*/ 2108729 w 2254611"/>
              <a:gd name="connsiteY6" fmla="*/ 3591152 h 5205981"/>
              <a:gd name="connsiteX7" fmla="*/ 2232310 w 2254611"/>
              <a:gd name="connsiteY7" fmla="*/ 2774509 h 5205981"/>
              <a:gd name="connsiteX8" fmla="*/ 2242536 w 2254611"/>
              <a:gd name="connsiteY8" fmla="*/ 2050765 h 5205981"/>
              <a:gd name="connsiteX9" fmla="*/ 2218634 w 2254611"/>
              <a:gd name="connsiteY9" fmla="*/ 1354313 h 5205981"/>
              <a:gd name="connsiteX10" fmla="*/ 2080453 w 2254611"/>
              <a:gd name="connsiteY10" fmla="*/ 680596 h 5205981"/>
              <a:gd name="connsiteX11" fmla="*/ 1706135 w 2254611"/>
              <a:gd name="connsiteY11" fmla="*/ 426528 h 5205981"/>
              <a:gd name="connsiteX12" fmla="*/ 1264912 w 2254611"/>
              <a:gd name="connsiteY12" fmla="*/ 42014 h 5205981"/>
              <a:gd name="connsiteX13" fmla="*/ 845812 w 2254611"/>
              <a:gd name="connsiteY13" fmla="*/ 174442 h 5205981"/>
              <a:gd name="connsiteX14" fmla="*/ 501683 w 2254611"/>
              <a:gd name="connsiteY14" fmla="*/ 387475 h 5205981"/>
              <a:gd name="connsiteX15" fmla="*/ 214909 w 2254611"/>
              <a:gd name="connsiteY15" fmla="*/ 756184 h 5205981"/>
              <a:gd name="connsiteX16" fmla="*/ 16420 w 2254611"/>
              <a:gd name="connsiteY16" fmla="*/ 1436249 h 5205981"/>
              <a:gd name="connsiteX17" fmla="*/ 17752 w 2254611"/>
              <a:gd name="connsiteY17" fmla="*/ 4892390 h 5205981"/>
              <a:gd name="connsiteX0" fmla="*/ 17752 w 2254611"/>
              <a:gd name="connsiteY0" fmla="*/ 4934735 h 5248326"/>
              <a:gd name="connsiteX1" fmla="*/ 264070 w 2254611"/>
              <a:gd name="connsiteY1" fmla="*/ 5206658 h 5248326"/>
              <a:gd name="connsiteX2" fmla="*/ 714716 w 2254611"/>
              <a:gd name="connsiteY2" fmla="*/ 5184741 h 5248326"/>
              <a:gd name="connsiteX3" fmla="*/ 1280070 w 2254611"/>
              <a:gd name="connsiteY3" fmla="*/ 4895304 h 5248326"/>
              <a:gd name="connsiteX4" fmla="*/ 1681554 w 2254611"/>
              <a:gd name="connsiteY4" fmla="*/ 4600336 h 5248326"/>
              <a:gd name="connsiteX5" fmla="*/ 1960135 w 2254611"/>
              <a:gd name="connsiteY5" fmla="*/ 4135091 h 5248326"/>
              <a:gd name="connsiteX6" fmla="*/ 2108729 w 2254611"/>
              <a:gd name="connsiteY6" fmla="*/ 3633497 h 5248326"/>
              <a:gd name="connsiteX7" fmla="*/ 2232310 w 2254611"/>
              <a:gd name="connsiteY7" fmla="*/ 2816854 h 5248326"/>
              <a:gd name="connsiteX8" fmla="*/ 2242536 w 2254611"/>
              <a:gd name="connsiteY8" fmla="*/ 2093110 h 5248326"/>
              <a:gd name="connsiteX9" fmla="*/ 2218634 w 2254611"/>
              <a:gd name="connsiteY9" fmla="*/ 1396658 h 5248326"/>
              <a:gd name="connsiteX10" fmla="*/ 2080453 w 2254611"/>
              <a:gd name="connsiteY10" fmla="*/ 722941 h 5248326"/>
              <a:gd name="connsiteX11" fmla="*/ 1264912 w 2254611"/>
              <a:gd name="connsiteY11" fmla="*/ 84359 h 5248326"/>
              <a:gd name="connsiteX12" fmla="*/ 845812 w 2254611"/>
              <a:gd name="connsiteY12" fmla="*/ 216787 h 5248326"/>
              <a:gd name="connsiteX13" fmla="*/ 501683 w 2254611"/>
              <a:gd name="connsiteY13" fmla="*/ 429820 h 5248326"/>
              <a:gd name="connsiteX14" fmla="*/ 214909 w 2254611"/>
              <a:gd name="connsiteY14" fmla="*/ 798529 h 5248326"/>
              <a:gd name="connsiteX15" fmla="*/ 16420 w 2254611"/>
              <a:gd name="connsiteY15" fmla="*/ 1478594 h 5248326"/>
              <a:gd name="connsiteX16" fmla="*/ 17752 w 2254611"/>
              <a:gd name="connsiteY16" fmla="*/ 4934735 h 5248326"/>
              <a:gd name="connsiteX0" fmla="*/ 17752 w 2254611"/>
              <a:gd name="connsiteY0" fmla="*/ 4766800 h 5080391"/>
              <a:gd name="connsiteX1" fmla="*/ 264070 w 2254611"/>
              <a:gd name="connsiteY1" fmla="*/ 5038723 h 5080391"/>
              <a:gd name="connsiteX2" fmla="*/ 714716 w 2254611"/>
              <a:gd name="connsiteY2" fmla="*/ 5016806 h 5080391"/>
              <a:gd name="connsiteX3" fmla="*/ 1280070 w 2254611"/>
              <a:gd name="connsiteY3" fmla="*/ 4727369 h 5080391"/>
              <a:gd name="connsiteX4" fmla="*/ 1681554 w 2254611"/>
              <a:gd name="connsiteY4" fmla="*/ 4432401 h 5080391"/>
              <a:gd name="connsiteX5" fmla="*/ 1960135 w 2254611"/>
              <a:gd name="connsiteY5" fmla="*/ 3967156 h 5080391"/>
              <a:gd name="connsiteX6" fmla="*/ 2108729 w 2254611"/>
              <a:gd name="connsiteY6" fmla="*/ 3465562 h 5080391"/>
              <a:gd name="connsiteX7" fmla="*/ 2232310 w 2254611"/>
              <a:gd name="connsiteY7" fmla="*/ 2648919 h 5080391"/>
              <a:gd name="connsiteX8" fmla="*/ 2242536 w 2254611"/>
              <a:gd name="connsiteY8" fmla="*/ 1925175 h 5080391"/>
              <a:gd name="connsiteX9" fmla="*/ 2218634 w 2254611"/>
              <a:gd name="connsiteY9" fmla="*/ 1228723 h 5080391"/>
              <a:gd name="connsiteX10" fmla="*/ 2080453 w 2254611"/>
              <a:gd name="connsiteY10" fmla="*/ 555006 h 5080391"/>
              <a:gd name="connsiteX11" fmla="*/ 845812 w 2254611"/>
              <a:gd name="connsiteY11" fmla="*/ 48852 h 5080391"/>
              <a:gd name="connsiteX12" fmla="*/ 501683 w 2254611"/>
              <a:gd name="connsiteY12" fmla="*/ 261885 h 5080391"/>
              <a:gd name="connsiteX13" fmla="*/ 214909 w 2254611"/>
              <a:gd name="connsiteY13" fmla="*/ 630594 h 5080391"/>
              <a:gd name="connsiteX14" fmla="*/ 16420 w 2254611"/>
              <a:gd name="connsiteY14" fmla="*/ 1310659 h 5080391"/>
              <a:gd name="connsiteX15" fmla="*/ 17752 w 2254611"/>
              <a:gd name="connsiteY15" fmla="*/ 4766800 h 5080391"/>
              <a:gd name="connsiteX0" fmla="*/ 17752 w 2254611"/>
              <a:gd name="connsiteY0" fmla="*/ 4766801 h 5080392"/>
              <a:gd name="connsiteX1" fmla="*/ 264070 w 2254611"/>
              <a:gd name="connsiteY1" fmla="*/ 5038724 h 5080392"/>
              <a:gd name="connsiteX2" fmla="*/ 714716 w 2254611"/>
              <a:gd name="connsiteY2" fmla="*/ 5016807 h 5080392"/>
              <a:gd name="connsiteX3" fmla="*/ 1280070 w 2254611"/>
              <a:gd name="connsiteY3" fmla="*/ 4727370 h 5080392"/>
              <a:gd name="connsiteX4" fmla="*/ 1681554 w 2254611"/>
              <a:gd name="connsiteY4" fmla="*/ 4432402 h 5080392"/>
              <a:gd name="connsiteX5" fmla="*/ 1960135 w 2254611"/>
              <a:gd name="connsiteY5" fmla="*/ 3967157 h 5080392"/>
              <a:gd name="connsiteX6" fmla="*/ 2108729 w 2254611"/>
              <a:gd name="connsiteY6" fmla="*/ 3465563 h 5080392"/>
              <a:gd name="connsiteX7" fmla="*/ 2232310 w 2254611"/>
              <a:gd name="connsiteY7" fmla="*/ 2648920 h 5080392"/>
              <a:gd name="connsiteX8" fmla="*/ 2242536 w 2254611"/>
              <a:gd name="connsiteY8" fmla="*/ 1925176 h 5080392"/>
              <a:gd name="connsiteX9" fmla="*/ 2218634 w 2254611"/>
              <a:gd name="connsiteY9" fmla="*/ 1228724 h 5080392"/>
              <a:gd name="connsiteX10" fmla="*/ 2080453 w 2254611"/>
              <a:gd name="connsiteY10" fmla="*/ 555007 h 5080392"/>
              <a:gd name="connsiteX11" fmla="*/ 845812 w 2254611"/>
              <a:gd name="connsiteY11" fmla="*/ 48853 h 5080392"/>
              <a:gd name="connsiteX12" fmla="*/ 501683 w 2254611"/>
              <a:gd name="connsiteY12" fmla="*/ 261886 h 5080392"/>
              <a:gd name="connsiteX13" fmla="*/ 382475 w 2254611"/>
              <a:gd name="connsiteY13" fmla="*/ 630596 h 5080392"/>
              <a:gd name="connsiteX14" fmla="*/ 16420 w 2254611"/>
              <a:gd name="connsiteY14" fmla="*/ 1310660 h 5080392"/>
              <a:gd name="connsiteX15" fmla="*/ 17752 w 2254611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491068 w 2363204"/>
              <a:gd name="connsiteY13" fmla="*/ 630596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66801 h 5080392"/>
              <a:gd name="connsiteX1" fmla="*/ 372663 w 2363204"/>
              <a:gd name="connsiteY1" fmla="*/ 5038724 h 5080392"/>
              <a:gd name="connsiteX2" fmla="*/ 823309 w 2363204"/>
              <a:gd name="connsiteY2" fmla="*/ 5016807 h 5080392"/>
              <a:gd name="connsiteX3" fmla="*/ 1388663 w 2363204"/>
              <a:gd name="connsiteY3" fmla="*/ 4727370 h 5080392"/>
              <a:gd name="connsiteX4" fmla="*/ 1790147 w 2363204"/>
              <a:gd name="connsiteY4" fmla="*/ 4432402 h 5080392"/>
              <a:gd name="connsiteX5" fmla="*/ 2068728 w 2363204"/>
              <a:gd name="connsiteY5" fmla="*/ 3967157 h 5080392"/>
              <a:gd name="connsiteX6" fmla="*/ 2217322 w 2363204"/>
              <a:gd name="connsiteY6" fmla="*/ 3465563 h 5080392"/>
              <a:gd name="connsiteX7" fmla="*/ 2340903 w 2363204"/>
              <a:gd name="connsiteY7" fmla="*/ 2648920 h 5080392"/>
              <a:gd name="connsiteX8" fmla="*/ 2351129 w 2363204"/>
              <a:gd name="connsiteY8" fmla="*/ 1925176 h 5080392"/>
              <a:gd name="connsiteX9" fmla="*/ 2327227 w 2363204"/>
              <a:gd name="connsiteY9" fmla="*/ 1228724 h 5080392"/>
              <a:gd name="connsiteX10" fmla="*/ 2189046 w 2363204"/>
              <a:gd name="connsiteY10" fmla="*/ 555007 h 5080392"/>
              <a:gd name="connsiteX11" fmla="*/ 954405 w 2363204"/>
              <a:gd name="connsiteY11" fmla="*/ 48853 h 5080392"/>
              <a:gd name="connsiteX12" fmla="*/ 610276 w 2363204"/>
              <a:gd name="connsiteY12" fmla="*/ 261886 h 5080392"/>
              <a:gd name="connsiteX13" fmla="*/ 150700 w 2363204"/>
              <a:gd name="connsiteY13" fmla="*/ 1353222 h 5080392"/>
              <a:gd name="connsiteX14" fmla="*/ 4575 w 2363204"/>
              <a:gd name="connsiteY14" fmla="*/ 2954896 h 5080392"/>
              <a:gd name="connsiteX15" fmla="*/ 126345 w 2363204"/>
              <a:gd name="connsiteY15" fmla="*/ 4766801 h 5080392"/>
              <a:gd name="connsiteX0" fmla="*/ 126345 w 2363204"/>
              <a:gd name="connsiteY0" fmla="*/ 4718840 h 5032431"/>
              <a:gd name="connsiteX1" fmla="*/ 372663 w 2363204"/>
              <a:gd name="connsiteY1" fmla="*/ 4990763 h 5032431"/>
              <a:gd name="connsiteX2" fmla="*/ 823309 w 2363204"/>
              <a:gd name="connsiteY2" fmla="*/ 4968846 h 5032431"/>
              <a:gd name="connsiteX3" fmla="*/ 1388663 w 2363204"/>
              <a:gd name="connsiteY3" fmla="*/ 4679409 h 5032431"/>
              <a:gd name="connsiteX4" fmla="*/ 1790147 w 2363204"/>
              <a:gd name="connsiteY4" fmla="*/ 4384441 h 5032431"/>
              <a:gd name="connsiteX5" fmla="*/ 2068728 w 2363204"/>
              <a:gd name="connsiteY5" fmla="*/ 3919196 h 5032431"/>
              <a:gd name="connsiteX6" fmla="*/ 2217322 w 2363204"/>
              <a:gd name="connsiteY6" fmla="*/ 3417602 h 5032431"/>
              <a:gd name="connsiteX7" fmla="*/ 2340903 w 2363204"/>
              <a:gd name="connsiteY7" fmla="*/ 2600959 h 5032431"/>
              <a:gd name="connsiteX8" fmla="*/ 2351129 w 2363204"/>
              <a:gd name="connsiteY8" fmla="*/ 1877215 h 5032431"/>
              <a:gd name="connsiteX9" fmla="*/ 2327227 w 2363204"/>
              <a:gd name="connsiteY9" fmla="*/ 1180763 h 5032431"/>
              <a:gd name="connsiteX10" fmla="*/ 2189046 w 2363204"/>
              <a:gd name="connsiteY10" fmla="*/ 507046 h 5032431"/>
              <a:gd name="connsiteX11" fmla="*/ 954405 w 2363204"/>
              <a:gd name="connsiteY11" fmla="*/ 892 h 5032431"/>
              <a:gd name="connsiteX12" fmla="*/ 500312 w 2363204"/>
              <a:gd name="connsiteY12" fmla="*/ 512401 h 5032431"/>
              <a:gd name="connsiteX13" fmla="*/ 150700 w 2363204"/>
              <a:gd name="connsiteY13" fmla="*/ 1305261 h 5032431"/>
              <a:gd name="connsiteX14" fmla="*/ 4575 w 2363204"/>
              <a:gd name="connsiteY14" fmla="*/ 2906935 h 5032431"/>
              <a:gd name="connsiteX15" fmla="*/ 126345 w 2363204"/>
              <a:gd name="connsiteY15" fmla="*/ 4718840 h 5032431"/>
              <a:gd name="connsiteX0" fmla="*/ 126345 w 2363204"/>
              <a:gd name="connsiteY0" fmla="*/ 4339475 h 4653066"/>
              <a:gd name="connsiteX1" fmla="*/ 372663 w 2363204"/>
              <a:gd name="connsiteY1" fmla="*/ 4611398 h 4653066"/>
              <a:gd name="connsiteX2" fmla="*/ 823309 w 2363204"/>
              <a:gd name="connsiteY2" fmla="*/ 4589481 h 4653066"/>
              <a:gd name="connsiteX3" fmla="*/ 1388663 w 2363204"/>
              <a:gd name="connsiteY3" fmla="*/ 4300044 h 4653066"/>
              <a:gd name="connsiteX4" fmla="*/ 1790147 w 2363204"/>
              <a:gd name="connsiteY4" fmla="*/ 4005076 h 4653066"/>
              <a:gd name="connsiteX5" fmla="*/ 2068728 w 2363204"/>
              <a:gd name="connsiteY5" fmla="*/ 3539831 h 4653066"/>
              <a:gd name="connsiteX6" fmla="*/ 2217322 w 2363204"/>
              <a:gd name="connsiteY6" fmla="*/ 3038237 h 4653066"/>
              <a:gd name="connsiteX7" fmla="*/ 2340903 w 2363204"/>
              <a:gd name="connsiteY7" fmla="*/ 2221594 h 4653066"/>
              <a:gd name="connsiteX8" fmla="*/ 2351129 w 2363204"/>
              <a:gd name="connsiteY8" fmla="*/ 1497850 h 4653066"/>
              <a:gd name="connsiteX9" fmla="*/ 2327227 w 2363204"/>
              <a:gd name="connsiteY9" fmla="*/ 801398 h 4653066"/>
              <a:gd name="connsiteX10" fmla="*/ 2189046 w 2363204"/>
              <a:gd name="connsiteY10" fmla="*/ 127681 h 4653066"/>
              <a:gd name="connsiteX11" fmla="*/ 500312 w 2363204"/>
              <a:gd name="connsiteY11" fmla="*/ 133036 h 4653066"/>
              <a:gd name="connsiteX12" fmla="*/ 150700 w 2363204"/>
              <a:gd name="connsiteY12" fmla="*/ 925896 h 4653066"/>
              <a:gd name="connsiteX13" fmla="*/ 4575 w 2363204"/>
              <a:gd name="connsiteY13" fmla="*/ 2527570 h 4653066"/>
              <a:gd name="connsiteX14" fmla="*/ 126345 w 2363204"/>
              <a:gd name="connsiteY14" fmla="*/ 4339475 h 4653066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323188 h 4636779"/>
              <a:gd name="connsiteX1" fmla="*/ 372663 w 2363204"/>
              <a:gd name="connsiteY1" fmla="*/ 4595111 h 4636779"/>
              <a:gd name="connsiteX2" fmla="*/ 823309 w 2363204"/>
              <a:gd name="connsiteY2" fmla="*/ 4573194 h 4636779"/>
              <a:gd name="connsiteX3" fmla="*/ 1388663 w 2363204"/>
              <a:gd name="connsiteY3" fmla="*/ 4283757 h 4636779"/>
              <a:gd name="connsiteX4" fmla="*/ 1790147 w 2363204"/>
              <a:gd name="connsiteY4" fmla="*/ 3988789 h 4636779"/>
              <a:gd name="connsiteX5" fmla="*/ 2068728 w 2363204"/>
              <a:gd name="connsiteY5" fmla="*/ 3523544 h 4636779"/>
              <a:gd name="connsiteX6" fmla="*/ 2217322 w 2363204"/>
              <a:gd name="connsiteY6" fmla="*/ 3021950 h 4636779"/>
              <a:gd name="connsiteX7" fmla="*/ 2340903 w 2363204"/>
              <a:gd name="connsiteY7" fmla="*/ 2205307 h 4636779"/>
              <a:gd name="connsiteX8" fmla="*/ 2351129 w 2363204"/>
              <a:gd name="connsiteY8" fmla="*/ 1481563 h 4636779"/>
              <a:gd name="connsiteX9" fmla="*/ 2327227 w 2363204"/>
              <a:gd name="connsiteY9" fmla="*/ 785111 h 4636779"/>
              <a:gd name="connsiteX10" fmla="*/ 2189046 w 2363204"/>
              <a:gd name="connsiteY10" fmla="*/ 111394 h 4636779"/>
              <a:gd name="connsiteX11" fmla="*/ 500312 w 2363204"/>
              <a:gd name="connsiteY11" fmla="*/ 116749 h 4636779"/>
              <a:gd name="connsiteX12" fmla="*/ 150700 w 2363204"/>
              <a:gd name="connsiteY12" fmla="*/ 909609 h 4636779"/>
              <a:gd name="connsiteX13" fmla="*/ 4575 w 2363204"/>
              <a:gd name="connsiteY13" fmla="*/ 2511283 h 4636779"/>
              <a:gd name="connsiteX14" fmla="*/ 126345 w 2363204"/>
              <a:gd name="connsiteY14" fmla="*/ 4323188 h 4636779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26345 w 2363204"/>
              <a:gd name="connsiteY0" fmla="*/ 4211794 h 4525385"/>
              <a:gd name="connsiteX1" fmla="*/ 372663 w 2363204"/>
              <a:gd name="connsiteY1" fmla="*/ 4483717 h 4525385"/>
              <a:gd name="connsiteX2" fmla="*/ 823309 w 2363204"/>
              <a:gd name="connsiteY2" fmla="*/ 4461800 h 4525385"/>
              <a:gd name="connsiteX3" fmla="*/ 1388663 w 2363204"/>
              <a:gd name="connsiteY3" fmla="*/ 4172363 h 4525385"/>
              <a:gd name="connsiteX4" fmla="*/ 1790147 w 2363204"/>
              <a:gd name="connsiteY4" fmla="*/ 3877395 h 4525385"/>
              <a:gd name="connsiteX5" fmla="*/ 2068728 w 2363204"/>
              <a:gd name="connsiteY5" fmla="*/ 3412150 h 4525385"/>
              <a:gd name="connsiteX6" fmla="*/ 2217322 w 2363204"/>
              <a:gd name="connsiteY6" fmla="*/ 2910556 h 4525385"/>
              <a:gd name="connsiteX7" fmla="*/ 2340903 w 2363204"/>
              <a:gd name="connsiteY7" fmla="*/ 2093913 h 4525385"/>
              <a:gd name="connsiteX8" fmla="*/ 2351129 w 2363204"/>
              <a:gd name="connsiteY8" fmla="*/ 1370169 h 4525385"/>
              <a:gd name="connsiteX9" fmla="*/ 2327227 w 2363204"/>
              <a:gd name="connsiteY9" fmla="*/ 673717 h 4525385"/>
              <a:gd name="connsiteX10" fmla="*/ 2189046 w 2363204"/>
              <a:gd name="connsiteY10" fmla="*/ 0 h 4525385"/>
              <a:gd name="connsiteX11" fmla="*/ 500312 w 2363204"/>
              <a:gd name="connsiteY11" fmla="*/ 5355 h 4525385"/>
              <a:gd name="connsiteX12" fmla="*/ 150700 w 2363204"/>
              <a:gd name="connsiteY12" fmla="*/ 798215 h 4525385"/>
              <a:gd name="connsiteX13" fmla="*/ 4575 w 2363204"/>
              <a:gd name="connsiteY13" fmla="*/ 2399889 h 4525385"/>
              <a:gd name="connsiteX14" fmla="*/ 126345 w 2363204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72363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2456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35791 w 2410332"/>
              <a:gd name="connsiteY3" fmla="*/ 4182836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550992 w 2410332"/>
              <a:gd name="connsiteY3" fmla="*/ 4381821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870437 w 2410332"/>
              <a:gd name="connsiteY2" fmla="*/ 4461800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4462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837275 w 2410332"/>
              <a:gd name="connsiteY4" fmla="*/ 3877395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115856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10332"/>
              <a:gd name="connsiteY0" fmla="*/ 4211794 h 4525385"/>
              <a:gd name="connsiteX1" fmla="*/ 419791 w 2410332"/>
              <a:gd name="connsiteY1" fmla="*/ 4483717 h 4525385"/>
              <a:gd name="connsiteX2" fmla="*/ 1006076 w 2410332"/>
              <a:gd name="connsiteY2" fmla="*/ 4461801 h 4525385"/>
              <a:gd name="connsiteX3" fmla="*/ 1606563 w 2410332"/>
              <a:gd name="connsiteY3" fmla="*/ 4188074 h 4525385"/>
              <a:gd name="connsiteX4" fmla="*/ 1942086 w 2410332"/>
              <a:gd name="connsiteY4" fmla="*/ 3877396 h 4525385"/>
              <a:gd name="connsiteX5" fmla="*/ 2208337 w 2410332"/>
              <a:gd name="connsiteY5" fmla="*/ 3412150 h 4525385"/>
              <a:gd name="connsiteX6" fmla="*/ 2264450 w 2410332"/>
              <a:gd name="connsiteY6" fmla="*/ 2910556 h 4525385"/>
              <a:gd name="connsiteX7" fmla="*/ 2388031 w 2410332"/>
              <a:gd name="connsiteY7" fmla="*/ 2093913 h 4525385"/>
              <a:gd name="connsiteX8" fmla="*/ 2398257 w 2410332"/>
              <a:gd name="connsiteY8" fmla="*/ 1370169 h 4525385"/>
              <a:gd name="connsiteX9" fmla="*/ 2374355 w 2410332"/>
              <a:gd name="connsiteY9" fmla="*/ 673717 h 4525385"/>
              <a:gd name="connsiteX10" fmla="*/ 2236174 w 2410332"/>
              <a:gd name="connsiteY10" fmla="*/ 0 h 4525385"/>
              <a:gd name="connsiteX11" fmla="*/ 547440 w 2410332"/>
              <a:gd name="connsiteY11" fmla="*/ 5355 h 4525385"/>
              <a:gd name="connsiteX12" fmla="*/ 197828 w 2410332"/>
              <a:gd name="connsiteY12" fmla="*/ 798215 h 4525385"/>
              <a:gd name="connsiteX13" fmla="*/ 51703 w 2410332"/>
              <a:gd name="connsiteY13" fmla="*/ 2399889 h 4525385"/>
              <a:gd name="connsiteX14" fmla="*/ 173473 w 2410332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197828 w 2401369"/>
              <a:gd name="connsiteY12" fmla="*/ 798215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1369"/>
              <a:gd name="connsiteY0" fmla="*/ 4211794 h 4525385"/>
              <a:gd name="connsiteX1" fmla="*/ 419791 w 2401369"/>
              <a:gd name="connsiteY1" fmla="*/ 4483717 h 4525385"/>
              <a:gd name="connsiteX2" fmla="*/ 1006076 w 2401369"/>
              <a:gd name="connsiteY2" fmla="*/ 4461801 h 4525385"/>
              <a:gd name="connsiteX3" fmla="*/ 1606563 w 2401369"/>
              <a:gd name="connsiteY3" fmla="*/ 4188074 h 4525385"/>
              <a:gd name="connsiteX4" fmla="*/ 1942086 w 2401369"/>
              <a:gd name="connsiteY4" fmla="*/ 3877396 h 4525385"/>
              <a:gd name="connsiteX5" fmla="*/ 2208337 w 2401369"/>
              <a:gd name="connsiteY5" fmla="*/ 3412150 h 4525385"/>
              <a:gd name="connsiteX6" fmla="*/ 2344599 w 2401369"/>
              <a:gd name="connsiteY6" fmla="*/ 2793414 h 4525385"/>
              <a:gd name="connsiteX7" fmla="*/ 2388031 w 2401369"/>
              <a:gd name="connsiteY7" fmla="*/ 2093913 h 4525385"/>
              <a:gd name="connsiteX8" fmla="*/ 2398257 w 2401369"/>
              <a:gd name="connsiteY8" fmla="*/ 1370169 h 4525385"/>
              <a:gd name="connsiteX9" fmla="*/ 2374355 w 2401369"/>
              <a:gd name="connsiteY9" fmla="*/ 673717 h 4525385"/>
              <a:gd name="connsiteX10" fmla="*/ 2236174 w 2401369"/>
              <a:gd name="connsiteY10" fmla="*/ 0 h 4525385"/>
              <a:gd name="connsiteX11" fmla="*/ 547440 w 2401369"/>
              <a:gd name="connsiteY11" fmla="*/ 5355 h 4525385"/>
              <a:gd name="connsiteX12" fmla="*/ 271813 w 2401369"/>
              <a:gd name="connsiteY12" fmla="*/ 1001673 h 4525385"/>
              <a:gd name="connsiteX13" fmla="*/ 51703 w 2401369"/>
              <a:gd name="connsiteY13" fmla="*/ 2399889 h 4525385"/>
              <a:gd name="connsiteX14" fmla="*/ 173473 w 2401369"/>
              <a:gd name="connsiteY14" fmla="*/ 4211794 h 4525385"/>
              <a:gd name="connsiteX0" fmla="*/ 173473 w 2402635"/>
              <a:gd name="connsiteY0" fmla="*/ 4211794 h 4525385"/>
              <a:gd name="connsiteX1" fmla="*/ 419791 w 2402635"/>
              <a:gd name="connsiteY1" fmla="*/ 4483717 h 4525385"/>
              <a:gd name="connsiteX2" fmla="*/ 1006076 w 2402635"/>
              <a:gd name="connsiteY2" fmla="*/ 4461801 h 4525385"/>
              <a:gd name="connsiteX3" fmla="*/ 1606563 w 2402635"/>
              <a:gd name="connsiteY3" fmla="*/ 4188074 h 4525385"/>
              <a:gd name="connsiteX4" fmla="*/ 1942086 w 2402635"/>
              <a:gd name="connsiteY4" fmla="*/ 3877396 h 4525385"/>
              <a:gd name="connsiteX5" fmla="*/ 2208337 w 2402635"/>
              <a:gd name="connsiteY5" fmla="*/ 3412150 h 4525385"/>
              <a:gd name="connsiteX6" fmla="*/ 2344599 w 2402635"/>
              <a:gd name="connsiteY6" fmla="*/ 2793414 h 4525385"/>
              <a:gd name="connsiteX7" fmla="*/ 2388031 w 2402635"/>
              <a:gd name="connsiteY7" fmla="*/ 2093913 h 4525385"/>
              <a:gd name="connsiteX8" fmla="*/ 2398257 w 2402635"/>
              <a:gd name="connsiteY8" fmla="*/ 1370169 h 4525385"/>
              <a:gd name="connsiteX9" fmla="*/ 2398651 w 2402635"/>
              <a:gd name="connsiteY9" fmla="*/ 1004957 h 4525385"/>
              <a:gd name="connsiteX10" fmla="*/ 2374355 w 2402635"/>
              <a:gd name="connsiteY10" fmla="*/ 673717 h 4525385"/>
              <a:gd name="connsiteX11" fmla="*/ 2236174 w 2402635"/>
              <a:gd name="connsiteY11" fmla="*/ 0 h 4525385"/>
              <a:gd name="connsiteX12" fmla="*/ 547440 w 2402635"/>
              <a:gd name="connsiteY12" fmla="*/ 5355 h 4525385"/>
              <a:gd name="connsiteX13" fmla="*/ 271813 w 2402635"/>
              <a:gd name="connsiteY13" fmla="*/ 1001673 h 4525385"/>
              <a:gd name="connsiteX14" fmla="*/ 51703 w 2402635"/>
              <a:gd name="connsiteY14" fmla="*/ 2399889 h 4525385"/>
              <a:gd name="connsiteX15" fmla="*/ 173473 w 2402635"/>
              <a:gd name="connsiteY15" fmla="*/ 4211794 h 4525385"/>
              <a:gd name="connsiteX0" fmla="*/ 173473 w 2544709"/>
              <a:gd name="connsiteY0" fmla="*/ 4211794 h 4525385"/>
              <a:gd name="connsiteX1" fmla="*/ 419791 w 2544709"/>
              <a:gd name="connsiteY1" fmla="*/ 4483717 h 4525385"/>
              <a:gd name="connsiteX2" fmla="*/ 1006076 w 2544709"/>
              <a:gd name="connsiteY2" fmla="*/ 4461801 h 4525385"/>
              <a:gd name="connsiteX3" fmla="*/ 1606563 w 2544709"/>
              <a:gd name="connsiteY3" fmla="*/ 4188074 h 4525385"/>
              <a:gd name="connsiteX4" fmla="*/ 1942086 w 2544709"/>
              <a:gd name="connsiteY4" fmla="*/ 3877396 h 4525385"/>
              <a:gd name="connsiteX5" fmla="*/ 2208337 w 2544709"/>
              <a:gd name="connsiteY5" fmla="*/ 3412150 h 4525385"/>
              <a:gd name="connsiteX6" fmla="*/ 2344599 w 2544709"/>
              <a:gd name="connsiteY6" fmla="*/ 2793414 h 4525385"/>
              <a:gd name="connsiteX7" fmla="*/ 2388031 w 2544709"/>
              <a:gd name="connsiteY7" fmla="*/ 2093913 h 4525385"/>
              <a:gd name="connsiteX8" fmla="*/ 2398257 w 2544709"/>
              <a:gd name="connsiteY8" fmla="*/ 1370169 h 4525385"/>
              <a:gd name="connsiteX9" fmla="*/ 2398651 w 2544709"/>
              <a:gd name="connsiteY9" fmla="*/ 1004957 h 4525385"/>
              <a:gd name="connsiteX10" fmla="*/ 2236174 w 2544709"/>
              <a:gd name="connsiteY10" fmla="*/ 0 h 4525385"/>
              <a:gd name="connsiteX11" fmla="*/ 547440 w 2544709"/>
              <a:gd name="connsiteY11" fmla="*/ 5355 h 4525385"/>
              <a:gd name="connsiteX12" fmla="*/ 271813 w 2544709"/>
              <a:gd name="connsiteY12" fmla="*/ 1001673 h 4525385"/>
              <a:gd name="connsiteX13" fmla="*/ 51703 w 2544709"/>
              <a:gd name="connsiteY13" fmla="*/ 2399889 h 4525385"/>
              <a:gd name="connsiteX14" fmla="*/ 173473 w 2544709"/>
              <a:gd name="connsiteY14" fmla="*/ 4211794 h 4525385"/>
              <a:gd name="connsiteX0" fmla="*/ 173473 w 2707121"/>
              <a:gd name="connsiteY0" fmla="*/ 4206439 h 4520030"/>
              <a:gd name="connsiteX1" fmla="*/ 419791 w 2707121"/>
              <a:gd name="connsiteY1" fmla="*/ 4478362 h 4520030"/>
              <a:gd name="connsiteX2" fmla="*/ 1006076 w 2707121"/>
              <a:gd name="connsiteY2" fmla="*/ 4456446 h 4520030"/>
              <a:gd name="connsiteX3" fmla="*/ 1606563 w 2707121"/>
              <a:gd name="connsiteY3" fmla="*/ 4182719 h 4520030"/>
              <a:gd name="connsiteX4" fmla="*/ 1942086 w 2707121"/>
              <a:gd name="connsiteY4" fmla="*/ 3872041 h 4520030"/>
              <a:gd name="connsiteX5" fmla="*/ 2208337 w 2707121"/>
              <a:gd name="connsiteY5" fmla="*/ 3406795 h 4520030"/>
              <a:gd name="connsiteX6" fmla="*/ 2344599 w 2707121"/>
              <a:gd name="connsiteY6" fmla="*/ 2788059 h 4520030"/>
              <a:gd name="connsiteX7" fmla="*/ 2388031 w 2707121"/>
              <a:gd name="connsiteY7" fmla="*/ 2088558 h 4520030"/>
              <a:gd name="connsiteX8" fmla="*/ 2398257 w 2707121"/>
              <a:gd name="connsiteY8" fmla="*/ 1364814 h 4520030"/>
              <a:gd name="connsiteX9" fmla="*/ 2398651 w 2707121"/>
              <a:gd name="connsiteY9" fmla="*/ 999602 h 4520030"/>
              <a:gd name="connsiteX10" fmla="*/ 547440 w 2707121"/>
              <a:gd name="connsiteY10" fmla="*/ 0 h 4520030"/>
              <a:gd name="connsiteX11" fmla="*/ 271813 w 2707121"/>
              <a:gd name="connsiteY11" fmla="*/ 996318 h 4520030"/>
              <a:gd name="connsiteX12" fmla="*/ 51703 w 2707121"/>
              <a:gd name="connsiteY12" fmla="*/ 2394534 h 4520030"/>
              <a:gd name="connsiteX13" fmla="*/ 173473 w 2707121"/>
              <a:gd name="connsiteY13" fmla="*/ 4206439 h 4520030"/>
              <a:gd name="connsiteX0" fmla="*/ 173473 w 2753058"/>
              <a:gd name="connsiteY0" fmla="*/ 3442610 h 3756201"/>
              <a:gd name="connsiteX1" fmla="*/ 419791 w 2753058"/>
              <a:gd name="connsiteY1" fmla="*/ 3714533 h 3756201"/>
              <a:gd name="connsiteX2" fmla="*/ 1006076 w 2753058"/>
              <a:gd name="connsiteY2" fmla="*/ 3692617 h 3756201"/>
              <a:gd name="connsiteX3" fmla="*/ 1606563 w 2753058"/>
              <a:gd name="connsiteY3" fmla="*/ 3418890 h 3756201"/>
              <a:gd name="connsiteX4" fmla="*/ 1942086 w 2753058"/>
              <a:gd name="connsiteY4" fmla="*/ 3108212 h 3756201"/>
              <a:gd name="connsiteX5" fmla="*/ 2208337 w 2753058"/>
              <a:gd name="connsiteY5" fmla="*/ 2642966 h 3756201"/>
              <a:gd name="connsiteX6" fmla="*/ 2344599 w 2753058"/>
              <a:gd name="connsiteY6" fmla="*/ 2024230 h 3756201"/>
              <a:gd name="connsiteX7" fmla="*/ 2388031 w 2753058"/>
              <a:gd name="connsiteY7" fmla="*/ 1324729 h 3756201"/>
              <a:gd name="connsiteX8" fmla="*/ 2398257 w 2753058"/>
              <a:gd name="connsiteY8" fmla="*/ 600985 h 3756201"/>
              <a:gd name="connsiteX9" fmla="*/ 2398651 w 2753058"/>
              <a:gd name="connsiteY9" fmla="*/ 235773 h 3756201"/>
              <a:gd name="connsiteX10" fmla="*/ 271813 w 2753058"/>
              <a:gd name="connsiteY10" fmla="*/ 232489 h 3756201"/>
              <a:gd name="connsiteX11" fmla="*/ 51703 w 2753058"/>
              <a:gd name="connsiteY11" fmla="*/ 1630705 h 3756201"/>
              <a:gd name="connsiteX12" fmla="*/ 173473 w 2753058"/>
              <a:gd name="connsiteY12" fmla="*/ 3442610 h 3756201"/>
              <a:gd name="connsiteX0" fmla="*/ 173473 w 2753058"/>
              <a:gd name="connsiteY0" fmla="*/ 3268253 h 3581844"/>
              <a:gd name="connsiteX1" fmla="*/ 419791 w 2753058"/>
              <a:gd name="connsiteY1" fmla="*/ 3540176 h 3581844"/>
              <a:gd name="connsiteX2" fmla="*/ 1006076 w 2753058"/>
              <a:gd name="connsiteY2" fmla="*/ 3518260 h 3581844"/>
              <a:gd name="connsiteX3" fmla="*/ 1606563 w 2753058"/>
              <a:gd name="connsiteY3" fmla="*/ 3244533 h 3581844"/>
              <a:gd name="connsiteX4" fmla="*/ 1942086 w 2753058"/>
              <a:gd name="connsiteY4" fmla="*/ 2933855 h 3581844"/>
              <a:gd name="connsiteX5" fmla="*/ 2208337 w 2753058"/>
              <a:gd name="connsiteY5" fmla="*/ 2468609 h 3581844"/>
              <a:gd name="connsiteX6" fmla="*/ 2344599 w 2753058"/>
              <a:gd name="connsiteY6" fmla="*/ 1849873 h 3581844"/>
              <a:gd name="connsiteX7" fmla="*/ 2388031 w 2753058"/>
              <a:gd name="connsiteY7" fmla="*/ 1150372 h 3581844"/>
              <a:gd name="connsiteX8" fmla="*/ 2398257 w 2753058"/>
              <a:gd name="connsiteY8" fmla="*/ 426628 h 3581844"/>
              <a:gd name="connsiteX9" fmla="*/ 2398651 w 2753058"/>
              <a:gd name="connsiteY9" fmla="*/ 61416 h 3581844"/>
              <a:gd name="connsiteX10" fmla="*/ 271813 w 2753058"/>
              <a:gd name="connsiteY10" fmla="*/ 58132 h 3581844"/>
              <a:gd name="connsiteX11" fmla="*/ 51703 w 2753058"/>
              <a:gd name="connsiteY11" fmla="*/ 1456348 h 3581844"/>
              <a:gd name="connsiteX12" fmla="*/ 173473 w 2753058"/>
              <a:gd name="connsiteY12" fmla="*/ 3268253 h 3581844"/>
              <a:gd name="connsiteX0" fmla="*/ 173473 w 2753058"/>
              <a:gd name="connsiteY0" fmla="*/ 3210121 h 3523712"/>
              <a:gd name="connsiteX1" fmla="*/ 419791 w 2753058"/>
              <a:gd name="connsiteY1" fmla="*/ 3482044 h 3523712"/>
              <a:gd name="connsiteX2" fmla="*/ 1006076 w 2753058"/>
              <a:gd name="connsiteY2" fmla="*/ 3460128 h 3523712"/>
              <a:gd name="connsiteX3" fmla="*/ 1606563 w 2753058"/>
              <a:gd name="connsiteY3" fmla="*/ 3186401 h 3523712"/>
              <a:gd name="connsiteX4" fmla="*/ 1942086 w 2753058"/>
              <a:gd name="connsiteY4" fmla="*/ 2875723 h 3523712"/>
              <a:gd name="connsiteX5" fmla="*/ 2208337 w 2753058"/>
              <a:gd name="connsiteY5" fmla="*/ 2410477 h 3523712"/>
              <a:gd name="connsiteX6" fmla="*/ 2344599 w 2753058"/>
              <a:gd name="connsiteY6" fmla="*/ 1791741 h 3523712"/>
              <a:gd name="connsiteX7" fmla="*/ 2388031 w 2753058"/>
              <a:gd name="connsiteY7" fmla="*/ 1092240 h 3523712"/>
              <a:gd name="connsiteX8" fmla="*/ 2398257 w 2753058"/>
              <a:gd name="connsiteY8" fmla="*/ 368496 h 3523712"/>
              <a:gd name="connsiteX9" fmla="*/ 2398651 w 2753058"/>
              <a:gd name="connsiteY9" fmla="*/ 3284 h 3523712"/>
              <a:gd name="connsiteX10" fmla="*/ 271813 w 2753058"/>
              <a:gd name="connsiteY10" fmla="*/ 0 h 3523712"/>
              <a:gd name="connsiteX11" fmla="*/ 51703 w 2753058"/>
              <a:gd name="connsiteY11" fmla="*/ 1398216 h 3523712"/>
              <a:gd name="connsiteX12" fmla="*/ 173473 w 2753058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7 w 2407797"/>
              <a:gd name="connsiteY8" fmla="*/ 368496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2"/>
              <a:gd name="connsiteX1" fmla="*/ 419791 w 2407797"/>
              <a:gd name="connsiteY1" fmla="*/ 3482044 h 3523712"/>
              <a:gd name="connsiteX2" fmla="*/ 1006076 w 2407797"/>
              <a:gd name="connsiteY2" fmla="*/ 3460128 h 3523712"/>
              <a:gd name="connsiteX3" fmla="*/ 1606563 w 2407797"/>
              <a:gd name="connsiteY3" fmla="*/ 3186401 h 3523712"/>
              <a:gd name="connsiteX4" fmla="*/ 1942086 w 2407797"/>
              <a:gd name="connsiteY4" fmla="*/ 2875723 h 3523712"/>
              <a:gd name="connsiteX5" fmla="*/ 2208337 w 2407797"/>
              <a:gd name="connsiteY5" fmla="*/ 2410477 h 3523712"/>
              <a:gd name="connsiteX6" fmla="*/ 2344599 w 2407797"/>
              <a:gd name="connsiteY6" fmla="*/ 1791741 h 3523712"/>
              <a:gd name="connsiteX7" fmla="*/ 2388031 w 2407797"/>
              <a:gd name="connsiteY7" fmla="*/ 1092240 h 3523712"/>
              <a:gd name="connsiteX8" fmla="*/ 2398258 w 2407797"/>
              <a:gd name="connsiteY8" fmla="*/ 368497 h 3523712"/>
              <a:gd name="connsiteX9" fmla="*/ 2398651 w 2407797"/>
              <a:gd name="connsiteY9" fmla="*/ 3284 h 3523712"/>
              <a:gd name="connsiteX10" fmla="*/ 271813 w 2407797"/>
              <a:gd name="connsiteY10" fmla="*/ 0 h 3523712"/>
              <a:gd name="connsiteX11" fmla="*/ 51703 w 2407797"/>
              <a:gd name="connsiteY11" fmla="*/ 1398216 h 3523712"/>
              <a:gd name="connsiteX12" fmla="*/ 173473 w 2407797"/>
              <a:gd name="connsiteY12" fmla="*/ 3210121 h 3523712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407797"/>
              <a:gd name="connsiteY0" fmla="*/ 3210121 h 3523713"/>
              <a:gd name="connsiteX1" fmla="*/ 419791 w 2407797"/>
              <a:gd name="connsiteY1" fmla="*/ 3482045 h 3523713"/>
              <a:gd name="connsiteX2" fmla="*/ 1006076 w 2407797"/>
              <a:gd name="connsiteY2" fmla="*/ 3460128 h 3523713"/>
              <a:gd name="connsiteX3" fmla="*/ 1606563 w 2407797"/>
              <a:gd name="connsiteY3" fmla="*/ 3186401 h 3523713"/>
              <a:gd name="connsiteX4" fmla="*/ 1942086 w 2407797"/>
              <a:gd name="connsiteY4" fmla="*/ 2875723 h 3523713"/>
              <a:gd name="connsiteX5" fmla="*/ 2208337 w 2407797"/>
              <a:gd name="connsiteY5" fmla="*/ 2410477 h 3523713"/>
              <a:gd name="connsiteX6" fmla="*/ 2344599 w 2407797"/>
              <a:gd name="connsiteY6" fmla="*/ 1791741 h 3523713"/>
              <a:gd name="connsiteX7" fmla="*/ 2388031 w 2407797"/>
              <a:gd name="connsiteY7" fmla="*/ 1092240 h 3523713"/>
              <a:gd name="connsiteX8" fmla="*/ 2398258 w 2407797"/>
              <a:gd name="connsiteY8" fmla="*/ 368497 h 3523713"/>
              <a:gd name="connsiteX9" fmla="*/ 2398651 w 2407797"/>
              <a:gd name="connsiteY9" fmla="*/ 3284 h 3523713"/>
              <a:gd name="connsiteX10" fmla="*/ 271813 w 2407797"/>
              <a:gd name="connsiteY10" fmla="*/ 0 h 3523713"/>
              <a:gd name="connsiteX11" fmla="*/ 51703 w 2407797"/>
              <a:gd name="connsiteY11" fmla="*/ 1398216 h 3523713"/>
              <a:gd name="connsiteX12" fmla="*/ 173473 w 2407797"/>
              <a:gd name="connsiteY12" fmla="*/ 3210121 h 3523713"/>
              <a:gd name="connsiteX0" fmla="*/ 173473 w 2779228"/>
              <a:gd name="connsiteY0" fmla="*/ 3210121 h 3523713"/>
              <a:gd name="connsiteX1" fmla="*/ 419791 w 2779228"/>
              <a:gd name="connsiteY1" fmla="*/ 3482045 h 3523713"/>
              <a:gd name="connsiteX2" fmla="*/ 1006076 w 2779228"/>
              <a:gd name="connsiteY2" fmla="*/ 3460128 h 3523713"/>
              <a:gd name="connsiteX3" fmla="*/ 1606563 w 2779228"/>
              <a:gd name="connsiteY3" fmla="*/ 3186401 h 3523713"/>
              <a:gd name="connsiteX4" fmla="*/ 1942086 w 2779228"/>
              <a:gd name="connsiteY4" fmla="*/ 2875723 h 3523713"/>
              <a:gd name="connsiteX5" fmla="*/ 2208337 w 2779228"/>
              <a:gd name="connsiteY5" fmla="*/ 2410477 h 3523713"/>
              <a:gd name="connsiteX6" fmla="*/ 2344599 w 2779228"/>
              <a:gd name="connsiteY6" fmla="*/ 1791741 h 3523713"/>
              <a:gd name="connsiteX7" fmla="*/ 2770285 w 2779228"/>
              <a:gd name="connsiteY7" fmla="*/ 1172390 h 3523713"/>
              <a:gd name="connsiteX8" fmla="*/ 2398258 w 2779228"/>
              <a:gd name="connsiteY8" fmla="*/ 368497 h 3523713"/>
              <a:gd name="connsiteX9" fmla="*/ 2398651 w 2779228"/>
              <a:gd name="connsiteY9" fmla="*/ 3284 h 3523713"/>
              <a:gd name="connsiteX10" fmla="*/ 271813 w 2779228"/>
              <a:gd name="connsiteY10" fmla="*/ 0 h 3523713"/>
              <a:gd name="connsiteX11" fmla="*/ 51703 w 2779228"/>
              <a:gd name="connsiteY11" fmla="*/ 1398216 h 3523713"/>
              <a:gd name="connsiteX12" fmla="*/ 173473 w 2779228"/>
              <a:gd name="connsiteY12" fmla="*/ 3210121 h 3523713"/>
              <a:gd name="connsiteX0" fmla="*/ 173473 w 2409305"/>
              <a:gd name="connsiteY0" fmla="*/ 3210121 h 3523713"/>
              <a:gd name="connsiteX1" fmla="*/ 419791 w 2409305"/>
              <a:gd name="connsiteY1" fmla="*/ 3482045 h 3523713"/>
              <a:gd name="connsiteX2" fmla="*/ 1006076 w 2409305"/>
              <a:gd name="connsiteY2" fmla="*/ 3460128 h 3523713"/>
              <a:gd name="connsiteX3" fmla="*/ 1606563 w 2409305"/>
              <a:gd name="connsiteY3" fmla="*/ 3186401 h 3523713"/>
              <a:gd name="connsiteX4" fmla="*/ 1942086 w 2409305"/>
              <a:gd name="connsiteY4" fmla="*/ 2875723 h 3523713"/>
              <a:gd name="connsiteX5" fmla="*/ 2208337 w 2409305"/>
              <a:gd name="connsiteY5" fmla="*/ 2410477 h 3523713"/>
              <a:gd name="connsiteX6" fmla="*/ 2344599 w 2409305"/>
              <a:gd name="connsiteY6" fmla="*/ 1791741 h 3523713"/>
              <a:gd name="connsiteX7" fmla="*/ 2400363 w 2409305"/>
              <a:gd name="connsiteY7" fmla="*/ 999760 h 3523713"/>
              <a:gd name="connsiteX8" fmla="*/ 2398258 w 2409305"/>
              <a:gd name="connsiteY8" fmla="*/ 368497 h 3523713"/>
              <a:gd name="connsiteX9" fmla="*/ 2398651 w 2409305"/>
              <a:gd name="connsiteY9" fmla="*/ 3284 h 3523713"/>
              <a:gd name="connsiteX10" fmla="*/ 271813 w 2409305"/>
              <a:gd name="connsiteY10" fmla="*/ 0 h 3523713"/>
              <a:gd name="connsiteX11" fmla="*/ 51703 w 2409305"/>
              <a:gd name="connsiteY11" fmla="*/ 1398216 h 3523713"/>
              <a:gd name="connsiteX12" fmla="*/ 173473 w 2409305"/>
              <a:gd name="connsiteY12" fmla="*/ 3210121 h 3523713"/>
              <a:gd name="connsiteX0" fmla="*/ 173473 w 2823955"/>
              <a:gd name="connsiteY0" fmla="*/ 3210121 h 3523713"/>
              <a:gd name="connsiteX1" fmla="*/ 419791 w 2823955"/>
              <a:gd name="connsiteY1" fmla="*/ 3482045 h 3523713"/>
              <a:gd name="connsiteX2" fmla="*/ 1006076 w 2823955"/>
              <a:gd name="connsiteY2" fmla="*/ 3460128 h 3523713"/>
              <a:gd name="connsiteX3" fmla="*/ 1606563 w 2823955"/>
              <a:gd name="connsiteY3" fmla="*/ 3186401 h 3523713"/>
              <a:gd name="connsiteX4" fmla="*/ 1942086 w 2823955"/>
              <a:gd name="connsiteY4" fmla="*/ 2875723 h 3523713"/>
              <a:gd name="connsiteX5" fmla="*/ 2208337 w 2823955"/>
              <a:gd name="connsiteY5" fmla="*/ 2410477 h 3523713"/>
              <a:gd name="connsiteX6" fmla="*/ 2344599 w 2823955"/>
              <a:gd name="connsiteY6" fmla="*/ 1791741 h 3523713"/>
              <a:gd name="connsiteX7" fmla="*/ 2400363 w 2823955"/>
              <a:gd name="connsiteY7" fmla="*/ 999760 h 3523713"/>
              <a:gd name="connsiteX8" fmla="*/ 2823669 w 2823955"/>
              <a:gd name="connsiteY8" fmla="*/ 368497 h 3523713"/>
              <a:gd name="connsiteX9" fmla="*/ 2398651 w 2823955"/>
              <a:gd name="connsiteY9" fmla="*/ 3284 h 3523713"/>
              <a:gd name="connsiteX10" fmla="*/ 271813 w 2823955"/>
              <a:gd name="connsiteY10" fmla="*/ 0 h 3523713"/>
              <a:gd name="connsiteX11" fmla="*/ 51703 w 2823955"/>
              <a:gd name="connsiteY11" fmla="*/ 1398216 h 3523713"/>
              <a:gd name="connsiteX12" fmla="*/ 173473 w 2823955"/>
              <a:gd name="connsiteY12" fmla="*/ 3210121 h 3523713"/>
              <a:gd name="connsiteX0" fmla="*/ 173473 w 2411360"/>
              <a:gd name="connsiteY0" fmla="*/ 3210121 h 3523713"/>
              <a:gd name="connsiteX1" fmla="*/ 419791 w 2411360"/>
              <a:gd name="connsiteY1" fmla="*/ 3482045 h 3523713"/>
              <a:gd name="connsiteX2" fmla="*/ 1006076 w 2411360"/>
              <a:gd name="connsiteY2" fmla="*/ 3460128 h 3523713"/>
              <a:gd name="connsiteX3" fmla="*/ 1606563 w 2411360"/>
              <a:gd name="connsiteY3" fmla="*/ 3186401 h 3523713"/>
              <a:gd name="connsiteX4" fmla="*/ 1942086 w 2411360"/>
              <a:gd name="connsiteY4" fmla="*/ 2875723 h 3523713"/>
              <a:gd name="connsiteX5" fmla="*/ 2208337 w 2411360"/>
              <a:gd name="connsiteY5" fmla="*/ 2410477 h 3523713"/>
              <a:gd name="connsiteX6" fmla="*/ 2344599 w 2411360"/>
              <a:gd name="connsiteY6" fmla="*/ 1791741 h 3523713"/>
              <a:gd name="connsiteX7" fmla="*/ 2400363 w 2411360"/>
              <a:gd name="connsiteY7" fmla="*/ 999760 h 3523713"/>
              <a:gd name="connsiteX8" fmla="*/ 2410590 w 2411360"/>
              <a:gd name="connsiteY8" fmla="*/ 232857 h 3523713"/>
              <a:gd name="connsiteX9" fmla="*/ 2398651 w 2411360"/>
              <a:gd name="connsiteY9" fmla="*/ 3284 h 3523713"/>
              <a:gd name="connsiteX10" fmla="*/ 271813 w 2411360"/>
              <a:gd name="connsiteY10" fmla="*/ 0 h 3523713"/>
              <a:gd name="connsiteX11" fmla="*/ 51703 w 2411360"/>
              <a:gd name="connsiteY11" fmla="*/ 1398216 h 3523713"/>
              <a:gd name="connsiteX12" fmla="*/ 173473 w 2411360"/>
              <a:gd name="connsiteY12" fmla="*/ 3210121 h 3523713"/>
              <a:gd name="connsiteX0" fmla="*/ 173473 w 2411361"/>
              <a:gd name="connsiteY0" fmla="*/ 3210121 h 3856645"/>
              <a:gd name="connsiteX1" fmla="*/ 296483 w 2411361"/>
              <a:gd name="connsiteY1" fmla="*/ 3814976 h 3856645"/>
              <a:gd name="connsiteX2" fmla="*/ 1006076 w 2411361"/>
              <a:gd name="connsiteY2" fmla="*/ 3460128 h 3856645"/>
              <a:gd name="connsiteX3" fmla="*/ 1606563 w 2411361"/>
              <a:gd name="connsiteY3" fmla="*/ 3186401 h 3856645"/>
              <a:gd name="connsiteX4" fmla="*/ 1942086 w 2411361"/>
              <a:gd name="connsiteY4" fmla="*/ 2875723 h 3856645"/>
              <a:gd name="connsiteX5" fmla="*/ 2208337 w 2411361"/>
              <a:gd name="connsiteY5" fmla="*/ 2410477 h 3856645"/>
              <a:gd name="connsiteX6" fmla="*/ 2344599 w 2411361"/>
              <a:gd name="connsiteY6" fmla="*/ 1791741 h 3856645"/>
              <a:gd name="connsiteX7" fmla="*/ 2400363 w 2411361"/>
              <a:gd name="connsiteY7" fmla="*/ 999760 h 3856645"/>
              <a:gd name="connsiteX8" fmla="*/ 2410590 w 2411361"/>
              <a:gd name="connsiteY8" fmla="*/ 232857 h 3856645"/>
              <a:gd name="connsiteX9" fmla="*/ 2398651 w 2411361"/>
              <a:gd name="connsiteY9" fmla="*/ 3284 h 3856645"/>
              <a:gd name="connsiteX10" fmla="*/ 271813 w 2411361"/>
              <a:gd name="connsiteY10" fmla="*/ 0 h 3856645"/>
              <a:gd name="connsiteX11" fmla="*/ 51703 w 2411361"/>
              <a:gd name="connsiteY11" fmla="*/ 1398216 h 3856645"/>
              <a:gd name="connsiteX12" fmla="*/ 173473 w 2411361"/>
              <a:gd name="connsiteY12" fmla="*/ 3210121 h 3856645"/>
              <a:gd name="connsiteX0" fmla="*/ 173473 w 2411361"/>
              <a:gd name="connsiteY0" fmla="*/ 3210121 h 3517548"/>
              <a:gd name="connsiteX1" fmla="*/ 462949 w 2411361"/>
              <a:gd name="connsiteY1" fmla="*/ 3475881 h 3517548"/>
              <a:gd name="connsiteX2" fmla="*/ 1006076 w 2411361"/>
              <a:gd name="connsiteY2" fmla="*/ 3460128 h 3517548"/>
              <a:gd name="connsiteX3" fmla="*/ 1606563 w 2411361"/>
              <a:gd name="connsiteY3" fmla="*/ 3186401 h 3517548"/>
              <a:gd name="connsiteX4" fmla="*/ 1942086 w 2411361"/>
              <a:gd name="connsiteY4" fmla="*/ 2875723 h 3517548"/>
              <a:gd name="connsiteX5" fmla="*/ 2208337 w 2411361"/>
              <a:gd name="connsiteY5" fmla="*/ 2410477 h 3517548"/>
              <a:gd name="connsiteX6" fmla="*/ 2344599 w 2411361"/>
              <a:gd name="connsiteY6" fmla="*/ 1791741 h 3517548"/>
              <a:gd name="connsiteX7" fmla="*/ 2400363 w 2411361"/>
              <a:gd name="connsiteY7" fmla="*/ 999760 h 3517548"/>
              <a:gd name="connsiteX8" fmla="*/ 2410590 w 2411361"/>
              <a:gd name="connsiteY8" fmla="*/ 232857 h 3517548"/>
              <a:gd name="connsiteX9" fmla="*/ 2398651 w 2411361"/>
              <a:gd name="connsiteY9" fmla="*/ 3284 h 3517548"/>
              <a:gd name="connsiteX10" fmla="*/ 271813 w 2411361"/>
              <a:gd name="connsiteY10" fmla="*/ 0 h 3517548"/>
              <a:gd name="connsiteX11" fmla="*/ 51703 w 2411361"/>
              <a:gd name="connsiteY11" fmla="*/ 1398216 h 3517548"/>
              <a:gd name="connsiteX12" fmla="*/ 173473 w 2411361"/>
              <a:gd name="connsiteY12" fmla="*/ 3210121 h 3517548"/>
              <a:gd name="connsiteX0" fmla="*/ 173473 w 2411361"/>
              <a:gd name="connsiteY0" fmla="*/ 3210121 h 3517549"/>
              <a:gd name="connsiteX1" fmla="*/ 462949 w 2411361"/>
              <a:gd name="connsiteY1" fmla="*/ 3475881 h 3517549"/>
              <a:gd name="connsiteX2" fmla="*/ 1006076 w 2411361"/>
              <a:gd name="connsiteY2" fmla="*/ 3460128 h 3517549"/>
              <a:gd name="connsiteX3" fmla="*/ 1606563 w 2411361"/>
              <a:gd name="connsiteY3" fmla="*/ 3186401 h 3517549"/>
              <a:gd name="connsiteX4" fmla="*/ 1942086 w 2411361"/>
              <a:gd name="connsiteY4" fmla="*/ 2875723 h 3517549"/>
              <a:gd name="connsiteX5" fmla="*/ 2208337 w 2411361"/>
              <a:gd name="connsiteY5" fmla="*/ 2410477 h 3517549"/>
              <a:gd name="connsiteX6" fmla="*/ 2344599 w 2411361"/>
              <a:gd name="connsiteY6" fmla="*/ 1791741 h 3517549"/>
              <a:gd name="connsiteX7" fmla="*/ 2400363 w 2411361"/>
              <a:gd name="connsiteY7" fmla="*/ 999760 h 3517549"/>
              <a:gd name="connsiteX8" fmla="*/ 2410590 w 2411361"/>
              <a:gd name="connsiteY8" fmla="*/ 232857 h 3517549"/>
              <a:gd name="connsiteX9" fmla="*/ 2398651 w 2411361"/>
              <a:gd name="connsiteY9" fmla="*/ 3284 h 3517549"/>
              <a:gd name="connsiteX10" fmla="*/ 271813 w 2411361"/>
              <a:gd name="connsiteY10" fmla="*/ 0 h 3517549"/>
              <a:gd name="connsiteX11" fmla="*/ 51703 w 2411361"/>
              <a:gd name="connsiteY11" fmla="*/ 1398216 h 3517549"/>
              <a:gd name="connsiteX12" fmla="*/ 173473 w 2411361"/>
              <a:gd name="connsiteY12" fmla="*/ 3210121 h 3517549"/>
              <a:gd name="connsiteX0" fmla="*/ 173473 w 2979328"/>
              <a:gd name="connsiteY0" fmla="*/ 3210121 h 3517549"/>
              <a:gd name="connsiteX1" fmla="*/ 462949 w 2979328"/>
              <a:gd name="connsiteY1" fmla="*/ 3475881 h 3517549"/>
              <a:gd name="connsiteX2" fmla="*/ 1006076 w 2979328"/>
              <a:gd name="connsiteY2" fmla="*/ 3460128 h 3517549"/>
              <a:gd name="connsiteX3" fmla="*/ 1606563 w 2979328"/>
              <a:gd name="connsiteY3" fmla="*/ 3186401 h 3517549"/>
              <a:gd name="connsiteX4" fmla="*/ 1942086 w 2979328"/>
              <a:gd name="connsiteY4" fmla="*/ 2875723 h 3517549"/>
              <a:gd name="connsiteX5" fmla="*/ 2208337 w 2979328"/>
              <a:gd name="connsiteY5" fmla="*/ 2410477 h 3517549"/>
              <a:gd name="connsiteX6" fmla="*/ 2344599 w 2979328"/>
              <a:gd name="connsiteY6" fmla="*/ 1791741 h 3517549"/>
              <a:gd name="connsiteX7" fmla="*/ 2400363 w 2979328"/>
              <a:gd name="connsiteY7" fmla="*/ 999760 h 3517549"/>
              <a:gd name="connsiteX8" fmla="*/ 2410590 w 2979328"/>
              <a:gd name="connsiteY8" fmla="*/ 232857 h 3517549"/>
              <a:gd name="connsiteX9" fmla="*/ 2970181 w 2979328"/>
              <a:gd name="connsiteY9" fmla="*/ 3284 h 3517549"/>
              <a:gd name="connsiteX10" fmla="*/ 271813 w 2979328"/>
              <a:gd name="connsiteY10" fmla="*/ 0 h 3517549"/>
              <a:gd name="connsiteX11" fmla="*/ 51703 w 2979328"/>
              <a:gd name="connsiteY11" fmla="*/ 1398216 h 3517549"/>
              <a:gd name="connsiteX12" fmla="*/ 173473 w 2979328"/>
              <a:gd name="connsiteY12" fmla="*/ 3210121 h 3517549"/>
              <a:gd name="connsiteX0" fmla="*/ 173473 w 3097874"/>
              <a:gd name="connsiteY0" fmla="*/ 3210121 h 3517549"/>
              <a:gd name="connsiteX1" fmla="*/ 462949 w 3097874"/>
              <a:gd name="connsiteY1" fmla="*/ 3475881 h 3517549"/>
              <a:gd name="connsiteX2" fmla="*/ 1006076 w 3097874"/>
              <a:gd name="connsiteY2" fmla="*/ 3460128 h 3517549"/>
              <a:gd name="connsiteX3" fmla="*/ 1606563 w 3097874"/>
              <a:gd name="connsiteY3" fmla="*/ 3186401 h 3517549"/>
              <a:gd name="connsiteX4" fmla="*/ 1942086 w 3097874"/>
              <a:gd name="connsiteY4" fmla="*/ 2875723 h 3517549"/>
              <a:gd name="connsiteX5" fmla="*/ 2208337 w 3097874"/>
              <a:gd name="connsiteY5" fmla="*/ 2410477 h 3517549"/>
              <a:gd name="connsiteX6" fmla="*/ 2344599 w 3097874"/>
              <a:gd name="connsiteY6" fmla="*/ 1791741 h 3517549"/>
              <a:gd name="connsiteX7" fmla="*/ 2400363 w 3097874"/>
              <a:gd name="connsiteY7" fmla="*/ 999760 h 3517549"/>
              <a:gd name="connsiteX8" fmla="*/ 3002905 w 3097874"/>
              <a:gd name="connsiteY8" fmla="*/ 232856 h 3517549"/>
              <a:gd name="connsiteX9" fmla="*/ 2970181 w 3097874"/>
              <a:gd name="connsiteY9" fmla="*/ 3284 h 3517549"/>
              <a:gd name="connsiteX10" fmla="*/ 271813 w 3097874"/>
              <a:gd name="connsiteY10" fmla="*/ 0 h 3517549"/>
              <a:gd name="connsiteX11" fmla="*/ 51703 w 3097874"/>
              <a:gd name="connsiteY11" fmla="*/ 1398216 h 3517549"/>
              <a:gd name="connsiteX12" fmla="*/ 173473 w 3097874"/>
              <a:gd name="connsiteY12" fmla="*/ 3210121 h 3517549"/>
              <a:gd name="connsiteX0" fmla="*/ 173473 w 3019265"/>
              <a:gd name="connsiteY0" fmla="*/ 3210121 h 3517549"/>
              <a:gd name="connsiteX1" fmla="*/ 462949 w 3019265"/>
              <a:gd name="connsiteY1" fmla="*/ 3475881 h 3517549"/>
              <a:gd name="connsiteX2" fmla="*/ 1006076 w 3019265"/>
              <a:gd name="connsiteY2" fmla="*/ 3460128 h 3517549"/>
              <a:gd name="connsiteX3" fmla="*/ 1606563 w 3019265"/>
              <a:gd name="connsiteY3" fmla="*/ 3186401 h 3517549"/>
              <a:gd name="connsiteX4" fmla="*/ 1942086 w 3019265"/>
              <a:gd name="connsiteY4" fmla="*/ 2875723 h 3517549"/>
              <a:gd name="connsiteX5" fmla="*/ 2208337 w 3019265"/>
              <a:gd name="connsiteY5" fmla="*/ 2410477 h 3517549"/>
              <a:gd name="connsiteX6" fmla="*/ 2344599 w 3019265"/>
              <a:gd name="connsiteY6" fmla="*/ 1791741 h 3517549"/>
              <a:gd name="connsiteX7" fmla="*/ 2909548 w 3019265"/>
              <a:gd name="connsiteY7" fmla="*/ 1249156 h 3517549"/>
              <a:gd name="connsiteX8" fmla="*/ 3002905 w 3019265"/>
              <a:gd name="connsiteY8" fmla="*/ 232856 h 3517549"/>
              <a:gd name="connsiteX9" fmla="*/ 2970181 w 3019265"/>
              <a:gd name="connsiteY9" fmla="*/ 3284 h 3517549"/>
              <a:gd name="connsiteX10" fmla="*/ 271813 w 3019265"/>
              <a:gd name="connsiteY10" fmla="*/ 0 h 3517549"/>
              <a:gd name="connsiteX11" fmla="*/ 51703 w 3019265"/>
              <a:gd name="connsiteY11" fmla="*/ 1398216 h 3517549"/>
              <a:gd name="connsiteX12" fmla="*/ 173473 w 3019265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208337 w 3013010"/>
              <a:gd name="connsiteY5" fmla="*/ 2410477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1942086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06563 w 3013010"/>
              <a:gd name="connsiteY3" fmla="*/ 3186401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689070"/>
              <a:gd name="connsiteX1" fmla="*/ 462949 w 3013010"/>
              <a:gd name="connsiteY1" fmla="*/ 3475881 h 3689070"/>
              <a:gd name="connsiteX2" fmla="*/ 1006076 w 3013010"/>
              <a:gd name="connsiteY2" fmla="*/ 3460128 h 3689070"/>
              <a:gd name="connsiteX3" fmla="*/ 1959873 w 3013010"/>
              <a:gd name="connsiteY3" fmla="*/ 3591668 h 3689070"/>
              <a:gd name="connsiteX4" fmla="*/ 2160308 w 3013010"/>
              <a:gd name="connsiteY4" fmla="*/ 2875723 h 3689070"/>
              <a:gd name="connsiteX5" fmla="*/ 2530474 w 3013010"/>
              <a:gd name="connsiteY5" fmla="*/ 2410478 h 3689070"/>
              <a:gd name="connsiteX6" fmla="*/ 2791434 w 3013010"/>
              <a:gd name="connsiteY6" fmla="*/ 1791741 h 3689070"/>
              <a:gd name="connsiteX7" fmla="*/ 2909548 w 3013010"/>
              <a:gd name="connsiteY7" fmla="*/ 1249156 h 3689070"/>
              <a:gd name="connsiteX8" fmla="*/ 3002905 w 3013010"/>
              <a:gd name="connsiteY8" fmla="*/ 232856 h 3689070"/>
              <a:gd name="connsiteX9" fmla="*/ 2970181 w 3013010"/>
              <a:gd name="connsiteY9" fmla="*/ 3284 h 3689070"/>
              <a:gd name="connsiteX10" fmla="*/ 271813 w 3013010"/>
              <a:gd name="connsiteY10" fmla="*/ 0 h 3689070"/>
              <a:gd name="connsiteX11" fmla="*/ 51703 w 3013010"/>
              <a:gd name="connsiteY11" fmla="*/ 1398216 h 3689070"/>
              <a:gd name="connsiteX12" fmla="*/ 173473 w 3013010"/>
              <a:gd name="connsiteY12" fmla="*/ 3210121 h 3689070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60308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679883 w 3013010"/>
              <a:gd name="connsiteY4" fmla="*/ 3073161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013010"/>
              <a:gd name="connsiteY0" fmla="*/ 3210121 h 3517549"/>
              <a:gd name="connsiteX1" fmla="*/ 462949 w 3013010"/>
              <a:gd name="connsiteY1" fmla="*/ 3475881 h 3517549"/>
              <a:gd name="connsiteX2" fmla="*/ 1006076 w 3013010"/>
              <a:gd name="connsiteY2" fmla="*/ 3460128 h 3517549"/>
              <a:gd name="connsiteX3" fmla="*/ 1668913 w 3013010"/>
              <a:gd name="connsiteY3" fmla="*/ 3186400 h 3517549"/>
              <a:gd name="connsiteX4" fmla="*/ 2129134 w 3013010"/>
              <a:gd name="connsiteY4" fmla="*/ 2875723 h 3517549"/>
              <a:gd name="connsiteX5" fmla="*/ 2530474 w 3013010"/>
              <a:gd name="connsiteY5" fmla="*/ 2410478 h 3517549"/>
              <a:gd name="connsiteX6" fmla="*/ 2791434 w 3013010"/>
              <a:gd name="connsiteY6" fmla="*/ 1791741 h 3517549"/>
              <a:gd name="connsiteX7" fmla="*/ 2909548 w 3013010"/>
              <a:gd name="connsiteY7" fmla="*/ 1249156 h 3517549"/>
              <a:gd name="connsiteX8" fmla="*/ 3002905 w 3013010"/>
              <a:gd name="connsiteY8" fmla="*/ 232856 h 3517549"/>
              <a:gd name="connsiteX9" fmla="*/ 2970181 w 3013010"/>
              <a:gd name="connsiteY9" fmla="*/ 3284 h 3517549"/>
              <a:gd name="connsiteX10" fmla="*/ 271813 w 3013010"/>
              <a:gd name="connsiteY10" fmla="*/ 0 h 3517549"/>
              <a:gd name="connsiteX11" fmla="*/ 51703 w 3013010"/>
              <a:gd name="connsiteY11" fmla="*/ 1398216 h 3517549"/>
              <a:gd name="connsiteX12" fmla="*/ 173473 w 3013010"/>
              <a:gd name="connsiteY12" fmla="*/ 3210121 h 3517549"/>
              <a:gd name="connsiteX0" fmla="*/ 173473 w 3459843"/>
              <a:gd name="connsiteY0" fmla="*/ 3210121 h 3517549"/>
              <a:gd name="connsiteX1" fmla="*/ 462949 w 3459843"/>
              <a:gd name="connsiteY1" fmla="*/ 3475881 h 3517549"/>
              <a:gd name="connsiteX2" fmla="*/ 1006076 w 3459843"/>
              <a:gd name="connsiteY2" fmla="*/ 3460128 h 3517549"/>
              <a:gd name="connsiteX3" fmla="*/ 1668913 w 3459843"/>
              <a:gd name="connsiteY3" fmla="*/ 3186400 h 3517549"/>
              <a:gd name="connsiteX4" fmla="*/ 2129134 w 3459843"/>
              <a:gd name="connsiteY4" fmla="*/ 2875723 h 3517549"/>
              <a:gd name="connsiteX5" fmla="*/ 2530474 w 3459843"/>
              <a:gd name="connsiteY5" fmla="*/ 2410478 h 3517549"/>
              <a:gd name="connsiteX6" fmla="*/ 2791434 w 3459843"/>
              <a:gd name="connsiteY6" fmla="*/ 1791741 h 3517549"/>
              <a:gd name="connsiteX7" fmla="*/ 2909548 w 3459843"/>
              <a:gd name="connsiteY7" fmla="*/ 1249156 h 3517549"/>
              <a:gd name="connsiteX8" fmla="*/ 3449739 w 3459843"/>
              <a:gd name="connsiteY8" fmla="*/ 690080 h 3517549"/>
              <a:gd name="connsiteX9" fmla="*/ 2970181 w 3459843"/>
              <a:gd name="connsiteY9" fmla="*/ 3284 h 3517549"/>
              <a:gd name="connsiteX10" fmla="*/ 271813 w 3459843"/>
              <a:gd name="connsiteY10" fmla="*/ 0 h 3517549"/>
              <a:gd name="connsiteX11" fmla="*/ 51703 w 3459843"/>
              <a:gd name="connsiteY11" fmla="*/ 1398216 h 3517549"/>
              <a:gd name="connsiteX12" fmla="*/ 173473 w 3459843"/>
              <a:gd name="connsiteY12" fmla="*/ 3210121 h 3517549"/>
              <a:gd name="connsiteX0" fmla="*/ 173473 w 2981836"/>
              <a:gd name="connsiteY0" fmla="*/ 3210121 h 3517549"/>
              <a:gd name="connsiteX1" fmla="*/ 462949 w 2981836"/>
              <a:gd name="connsiteY1" fmla="*/ 3475881 h 3517549"/>
              <a:gd name="connsiteX2" fmla="*/ 1006076 w 2981836"/>
              <a:gd name="connsiteY2" fmla="*/ 3460128 h 3517549"/>
              <a:gd name="connsiteX3" fmla="*/ 1668913 w 2981836"/>
              <a:gd name="connsiteY3" fmla="*/ 3186400 h 3517549"/>
              <a:gd name="connsiteX4" fmla="*/ 2129134 w 2981836"/>
              <a:gd name="connsiteY4" fmla="*/ 2875723 h 3517549"/>
              <a:gd name="connsiteX5" fmla="*/ 2530474 w 2981836"/>
              <a:gd name="connsiteY5" fmla="*/ 2410478 h 3517549"/>
              <a:gd name="connsiteX6" fmla="*/ 2791434 w 2981836"/>
              <a:gd name="connsiteY6" fmla="*/ 1791741 h 3517549"/>
              <a:gd name="connsiteX7" fmla="*/ 2909548 w 2981836"/>
              <a:gd name="connsiteY7" fmla="*/ 1249156 h 3517549"/>
              <a:gd name="connsiteX8" fmla="*/ 2971730 w 2981836"/>
              <a:gd name="connsiteY8" fmla="*/ 565382 h 3517549"/>
              <a:gd name="connsiteX9" fmla="*/ 2970181 w 2981836"/>
              <a:gd name="connsiteY9" fmla="*/ 3284 h 3517549"/>
              <a:gd name="connsiteX10" fmla="*/ 271813 w 2981836"/>
              <a:gd name="connsiteY10" fmla="*/ 0 h 3517549"/>
              <a:gd name="connsiteX11" fmla="*/ 51703 w 2981836"/>
              <a:gd name="connsiteY11" fmla="*/ 1398216 h 3517549"/>
              <a:gd name="connsiteX12" fmla="*/ 173473 w 2981836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85554 w 3115687"/>
              <a:gd name="connsiteY11" fmla="*/ 1398216 h 3517549"/>
              <a:gd name="connsiteX12" fmla="*/ 307324 w 3115687"/>
              <a:gd name="connsiteY12" fmla="*/ 3210121 h 3517549"/>
              <a:gd name="connsiteX0" fmla="*/ 713829 w 3522192"/>
              <a:gd name="connsiteY0" fmla="*/ 3210121 h 3517549"/>
              <a:gd name="connsiteX1" fmla="*/ 1003305 w 3522192"/>
              <a:gd name="connsiteY1" fmla="*/ 3475881 h 3517549"/>
              <a:gd name="connsiteX2" fmla="*/ 1546432 w 3522192"/>
              <a:gd name="connsiteY2" fmla="*/ 3460128 h 3517549"/>
              <a:gd name="connsiteX3" fmla="*/ 2209269 w 3522192"/>
              <a:gd name="connsiteY3" fmla="*/ 3186400 h 3517549"/>
              <a:gd name="connsiteX4" fmla="*/ 2669490 w 3522192"/>
              <a:gd name="connsiteY4" fmla="*/ 2875723 h 3517549"/>
              <a:gd name="connsiteX5" fmla="*/ 3070830 w 3522192"/>
              <a:gd name="connsiteY5" fmla="*/ 2410478 h 3517549"/>
              <a:gd name="connsiteX6" fmla="*/ 3331790 w 3522192"/>
              <a:gd name="connsiteY6" fmla="*/ 1791741 h 3517549"/>
              <a:gd name="connsiteX7" fmla="*/ 3449904 w 3522192"/>
              <a:gd name="connsiteY7" fmla="*/ 1249156 h 3517549"/>
              <a:gd name="connsiteX8" fmla="*/ 3512086 w 3522192"/>
              <a:gd name="connsiteY8" fmla="*/ 565382 h 3517549"/>
              <a:gd name="connsiteX9" fmla="*/ 3510537 w 3522192"/>
              <a:gd name="connsiteY9" fmla="*/ 3284 h 3517549"/>
              <a:gd name="connsiteX10" fmla="*/ 562775 w 3522192"/>
              <a:gd name="connsiteY10" fmla="*/ 0 h 3517549"/>
              <a:gd name="connsiteX11" fmla="*/ 51703 w 3522192"/>
              <a:gd name="connsiteY11" fmla="*/ 1398216 h 3517549"/>
              <a:gd name="connsiteX12" fmla="*/ 713829 w 3522192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307324 w 3115687"/>
              <a:gd name="connsiteY0" fmla="*/ 3210121 h 3517549"/>
              <a:gd name="connsiteX1" fmla="*/ 596800 w 3115687"/>
              <a:gd name="connsiteY1" fmla="*/ 3475881 h 3517549"/>
              <a:gd name="connsiteX2" fmla="*/ 1139927 w 3115687"/>
              <a:gd name="connsiteY2" fmla="*/ 3460128 h 3517549"/>
              <a:gd name="connsiteX3" fmla="*/ 1802764 w 3115687"/>
              <a:gd name="connsiteY3" fmla="*/ 3186400 h 3517549"/>
              <a:gd name="connsiteX4" fmla="*/ 2262985 w 3115687"/>
              <a:gd name="connsiteY4" fmla="*/ 2875723 h 3517549"/>
              <a:gd name="connsiteX5" fmla="*/ 2664325 w 3115687"/>
              <a:gd name="connsiteY5" fmla="*/ 2410478 h 3517549"/>
              <a:gd name="connsiteX6" fmla="*/ 2925285 w 3115687"/>
              <a:gd name="connsiteY6" fmla="*/ 1791741 h 3517549"/>
              <a:gd name="connsiteX7" fmla="*/ 3043399 w 3115687"/>
              <a:gd name="connsiteY7" fmla="*/ 1249156 h 3517549"/>
              <a:gd name="connsiteX8" fmla="*/ 3105581 w 3115687"/>
              <a:gd name="connsiteY8" fmla="*/ 565382 h 3517549"/>
              <a:gd name="connsiteX9" fmla="*/ 3104032 w 3115687"/>
              <a:gd name="connsiteY9" fmla="*/ 3284 h 3517549"/>
              <a:gd name="connsiteX10" fmla="*/ 156270 w 3115687"/>
              <a:gd name="connsiteY10" fmla="*/ 0 h 3517549"/>
              <a:gd name="connsiteX11" fmla="*/ 133596 w 3115687"/>
              <a:gd name="connsiteY11" fmla="*/ 1398216 h 3517549"/>
              <a:gd name="connsiteX12" fmla="*/ 307324 w 3115687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225431 w 3033794"/>
              <a:gd name="connsiteY0" fmla="*/ 3210121 h 3517549"/>
              <a:gd name="connsiteX1" fmla="*/ 514907 w 3033794"/>
              <a:gd name="connsiteY1" fmla="*/ 3475881 h 3517549"/>
              <a:gd name="connsiteX2" fmla="*/ 1058034 w 3033794"/>
              <a:gd name="connsiteY2" fmla="*/ 3460128 h 3517549"/>
              <a:gd name="connsiteX3" fmla="*/ 1720871 w 3033794"/>
              <a:gd name="connsiteY3" fmla="*/ 3186400 h 3517549"/>
              <a:gd name="connsiteX4" fmla="*/ 2181092 w 3033794"/>
              <a:gd name="connsiteY4" fmla="*/ 2875723 h 3517549"/>
              <a:gd name="connsiteX5" fmla="*/ 2582432 w 3033794"/>
              <a:gd name="connsiteY5" fmla="*/ 2410478 h 3517549"/>
              <a:gd name="connsiteX6" fmla="*/ 2843392 w 3033794"/>
              <a:gd name="connsiteY6" fmla="*/ 1791741 h 3517549"/>
              <a:gd name="connsiteX7" fmla="*/ 2961506 w 3033794"/>
              <a:gd name="connsiteY7" fmla="*/ 1249156 h 3517549"/>
              <a:gd name="connsiteX8" fmla="*/ 3023688 w 3033794"/>
              <a:gd name="connsiteY8" fmla="*/ 565382 h 3517549"/>
              <a:gd name="connsiteX9" fmla="*/ 3022139 w 3033794"/>
              <a:gd name="connsiteY9" fmla="*/ 3284 h 3517549"/>
              <a:gd name="connsiteX10" fmla="*/ 74377 w 3033794"/>
              <a:gd name="connsiteY10" fmla="*/ 0 h 3517549"/>
              <a:gd name="connsiteX11" fmla="*/ 51703 w 3033794"/>
              <a:gd name="connsiteY11" fmla="*/ 1398216 h 3517549"/>
              <a:gd name="connsiteX12" fmla="*/ 225431 w 3033794"/>
              <a:gd name="connsiteY12" fmla="*/ 3210121 h 3517549"/>
              <a:gd name="connsiteX0" fmla="*/ 443652 w 3252015"/>
              <a:gd name="connsiteY0" fmla="*/ 3210121 h 3517549"/>
              <a:gd name="connsiteX1" fmla="*/ 733128 w 3252015"/>
              <a:gd name="connsiteY1" fmla="*/ 3475881 h 3517549"/>
              <a:gd name="connsiteX2" fmla="*/ 1276255 w 3252015"/>
              <a:gd name="connsiteY2" fmla="*/ 3460128 h 3517549"/>
              <a:gd name="connsiteX3" fmla="*/ 1939092 w 3252015"/>
              <a:gd name="connsiteY3" fmla="*/ 3186400 h 3517549"/>
              <a:gd name="connsiteX4" fmla="*/ 2399313 w 3252015"/>
              <a:gd name="connsiteY4" fmla="*/ 2875723 h 3517549"/>
              <a:gd name="connsiteX5" fmla="*/ 2800653 w 3252015"/>
              <a:gd name="connsiteY5" fmla="*/ 2410478 h 3517549"/>
              <a:gd name="connsiteX6" fmla="*/ 3061613 w 3252015"/>
              <a:gd name="connsiteY6" fmla="*/ 1791741 h 3517549"/>
              <a:gd name="connsiteX7" fmla="*/ 3179727 w 3252015"/>
              <a:gd name="connsiteY7" fmla="*/ 1249156 h 3517549"/>
              <a:gd name="connsiteX8" fmla="*/ 3241909 w 3252015"/>
              <a:gd name="connsiteY8" fmla="*/ 565382 h 3517549"/>
              <a:gd name="connsiteX9" fmla="*/ 3240360 w 3252015"/>
              <a:gd name="connsiteY9" fmla="*/ 3284 h 3517549"/>
              <a:gd name="connsiteX10" fmla="*/ 292598 w 3252015"/>
              <a:gd name="connsiteY10" fmla="*/ 0 h 3517549"/>
              <a:gd name="connsiteX11" fmla="*/ 51703 w 3252015"/>
              <a:gd name="connsiteY11" fmla="*/ 1398216 h 3517549"/>
              <a:gd name="connsiteX12" fmla="*/ 443652 w 3252015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95161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438080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126335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531074 w 3339437"/>
              <a:gd name="connsiteY0" fmla="*/ 3210121 h 3517549"/>
              <a:gd name="connsiteX1" fmla="*/ 820550 w 3339437"/>
              <a:gd name="connsiteY1" fmla="*/ 3475881 h 3517549"/>
              <a:gd name="connsiteX2" fmla="*/ 1363677 w 3339437"/>
              <a:gd name="connsiteY2" fmla="*/ 3460128 h 3517549"/>
              <a:gd name="connsiteX3" fmla="*/ 2026514 w 3339437"/>
              <a:gd name="connsiteY3" fmla="*/ 3186400 h 3517549"/>
              <a:gd name="connsiteX4" fmla="*/ 2486735 w 3339437"/>
              <a:gd name="connsiteY4" fmla="*/ 2875723 h 3517549"/>
              <a:gd name="connsiteX5" fmla="*/ 2888075 w 3339437"/>
              <a:gd name="connsiteY5" fmla="*/ 2410478 h 3517549"/>
              <a:gd name="connsiteX6" fmla="*/ 3149035 w 3339437"/>
              <a:gd name="connsiteY6" fmla="*/ 1791741 h 3517549"/>
              <a:gd name="connsiteX7" fmla="*/ 3267149 w 3339437"/>
              <a:gd name="connsiteY7" fmla="*/ 1249156 h 3517549"/>
              <a:gd name="connsiteX8" fmla="*/ 3329331 w 3339437"/>
              <a:gd name="connsiteY8" fmla="*/ 565382 h 3517549"/>
              <a:gd name="connsiteX9" fmla="*/ 3327782 w 3339437"/>
              <a:gd name="connsiteY9" fmla="*/ 3284 h 3517549"/>
              <a:gd name="connsiteX10" fmla="*/ 41961 w 3339437"/>
              <a:gd name="connsiteY10" fmla="*/ 0 h 3517549"/>
              <a:gd name="connsiteX11" fmla="*/ 336562 w 3339437"/>
              <a:gd name="connsiteY11" fmla="*/ 1398216 h 3517549"/>
              <a:gd name="connsiteX12" fmla="*/ 531074 w 3339437"/>
              <a:gd name="connsiteY12" fmla="*/ 3210121 h 3517549"/>
              <a:gd name="connsiteX0" fmla="*/ 246215 w 3054578"/>
              <a:gd name="connsiteY0" fmla="*/ 3210121 h 3517549"/>
              <a:gd name="connsiteX1" fmla="*/ 535691 w 3054578"/>
              <a:gd name="connsiteY1" fmla="*/ 3475881 h 3517549"/>
              <a:gd name="connsiteX2" fmla="*/ 1078818 w 3054578"/>
              <a:gd name="connsiteY2" fmla="*/ 3460128 h 3517549"/>
              <a:gd name="connsiteX3" fmla="*/ 1741655 w 3054578"/>
              <a:gd name="connsiteY3" fmla="*/ 3186400 h 3517549"/>
              <a:gd name="connsiteX4" fmla="*/ 2201876 w 3054578"/>
              <a:gd name="connsiteY4" fmla="*/ 2875723 h 3517549"/>
              <a:gd name="connsiteX5" fmla="*/ 2603216 w 3054578"/>
              <a:gd name="connsiteY5" fmla="*/ 2410478 h 3517549"/>
              <a:gd name="connsiteX6" fmla="*/ 2864176 w 3054578"/>
              <a:gd name="connsiteY6" fmla="*/ 1791741 h 3517549"/>
              <a:gd name="connsiteX7" fmla="*/ 2982290 w 3054578"/>
              <a:gd name="connsiteY7" fmla="*/ 1249156 h 3517549"/>
              <a:gd name="connsiteX8" fmla="*/ 3044472 w 3054578"/>
              <a:gd name="connsiteY8" fmla="*/ 565382 h 3517549"/>
              <a:gd name="connsiteX9" fmla="*/ 3042923 w 3054578"/>
              <a:gd name="connsiteY9" fmla="*/ 3284 h 3517549"/>
              <a:gd name="connsiteX10" fmla="*/ 59203 w 3054578"/>
              <a:gd name="connsiteY10" fmla="*/ 0 h 3517549"/>
              <a:gd name="connsiteX11" fmla="*/ 51703 w 3054578"/>
              <a:gd name="connsiteY11" fmla="*/ 1398216 h 3517549"/>
              <a:gd name="connsiteX12" fmla="*/ 246215 w 3054578"/>
              <a:gd name="connsiteY12" fmla="*/ 3210121 h 3517549"/>
              <a:gd name="connsiteX0" fmla="*/ 34461 w 3037336"/>
              <a:gd name="connsiteY0" fmla="*/ 1398216 h 3819531"/>
              <a:gd name="connsiteX1" fmla="*/ 518449 w 3037336"/>
              <a:gd name="connsiteY1" fmla="*/ 3475881 h 3819531"/>
              <a:gd name="connsiteX2" fmla="*/ 1061576 w 3037336"/>
              <a:gd name="connsiteY2" fmla="*/ 3460128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061580 w 3037340"/>
              <a:gd name="connsiteY2" fmla="*/ 3460128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34461 w 3037336"/>
              <a:gd name="connsiteY0" fmla="*/ 1398216 h 3959956"/>
              <a:gd name="connsiteX1" fmla="*/ 518449 w 3037336"/>
              <a:gd name="connsiteY1" fmla="*/ 3475881 h 3959956"/>
              <a:gd name="connsiteX2" fmla="*/ 1061576 w 3037336"/>
              <a:gd name="connsiteY2" fmla="*/ 3911707 h 3959956"/>
              <a:gd name="connsiteX3" fmla="*/ 1724413 w 3037336"/>
              <a:gd name="connsiteY3" fmla="*/ 3186400 h 3959956"/>
              <a:gd name="connsiteX4" fmla="*/ 2184634 w 3037336"/>
              <a:gd name="connsiteY4" fmla="*/ 2875723 h 3959956"/>
              <a:gd name="connsiteX5" fmla="*/ 2585974 w 3037336"/>
              <a:gd name="connsiteY5" fmla="*/ 2410478 h 3959956"/>
              <a:gd name="connsiteX6" fmla="*/ 2846934 w 3037336"/>
              <a:gd name="connsiteY6" fmla="*/ 1791741 h 3959956"/>
              <a:gd name="connsiteX7" fmla="*/ 2965048 w 3037336"/>
              <a:gd name="connsiteY7" fmla="*/ 1249156 h 3959956"/>
              <a:gd name="connsiteX8" fmla="*/ 3027230 w 3037336"/>
              <a:gd name="connsiteY8" fmla="*/ 565382 h 3959956"/>
              <a:gd name="connsiteX9" fmla="*/ 3025681 w 3037336"/>
              <a:gd name="connsiteY9" fmla="*/ 3284 h 3959956"/>
              <a:gd name="connsiteX10" fmla="*/ 41961 w 3037336"/>
              <a:gd name="connsiteY10" fmla="*/ 0 h 3959956"/>
              <a:gd name="connsiteX11" fmla="*/ 34461 w 3037336"/>
              <a:gd name="connsiteY11" fmla="*/ 1398216 h 3959956"/>
              <a:gd name="connsiteX0" fmla="*/ 34465 w 3037340"/>
              <a:gd name="connsiteY0" fmla="*/ 1398216 h 3819531"/>
              <a:gd name="connsiteX1" fmla="*/ 518453 w 3037340"/>
              <a:gd name="connsiteY1" fmla="*/ 3475881 h 3819531"/>
              <a:gd name="connsiteX2" fmla="*/ 1279762 w 3037340"/>
              <a:gd name="connsiteY2" fmla="*/ 3531433 h 3819531"/>
              <a:gd name="connsiteX3" fmla="*/ 1724417 w 3037340"/>
              <a:gd name="connsiteY3" fmla="*/ 3186400 h 3819531"/>
              <a:gd name="connsiteX4" fmla="*/ 2184638 w 3037340"/>
              <a:gd name="connsiteY4" fmla="*/ 2875723 h 3819531"/>
              <a:gd name="connsiteX5" fmla="*/ 2585978 w 3037340"/>
              <a:gd name="connsiteY5" fmla="*/ 2410478 h 3819531"/>
              <a:gd name="connsiteX6" fmla="*/ 2846938 w 3037340"/>
              <a:gd name="connsiteY6" fmla="*/ 1791741 h 3819531"/>
              <a:gd name="connsiteX7" fmla="*/ 2965052 w 3037340"/>
              <a:gd name="connsiteY7" fmla="*/ 1249156 h 3819531"/>
              <a:gd name="connsiteX8" fmla="*/ 3027234 w 3037340"/>
              <a:gd name="connsiteY8" fmla="*/ 565382 h 3819531"/>
              <a:gd name="connsiteX9" fmla="*/ 3025685 w 3037340"/>
              <a:gd name="connsiteY9" fmla="*/ 3284 h 3819531"/>
              <a:gd name="connsiteX10" fmla="*/ 41965 w 3037340"/>
              <a:gd name="connsiteY10" fmla="*/ 0 h 3819531"/>
              <a:gd name="connsiteX11" fmla="*/ 34465 w 3037340"/>
              <a:gd name="connsiteY11" fmla="*/ 1398216 h 3819531"/>
              <a:gd name="connsiteX0" fmla="*/ 140355 w 3143230"/>
              <a:gd name="connsiteY0" fmla="*/ 1398216 h 3819531"/>
              <a:gd name="connsiteX1" fmla="*/ 305455 w 3143230"/>
              <a:gd name="connsiteY1" fmla="*/ 3475879 h 3819531"/>
              <a:gd name="connsiteX2" fmla="*/ 1385652 w 3143230"/>
              <a:gd name="connsiteY2" fmla="*/ 3531433 h 3819531"/>
              <a:gd name="connsiteX3" fmla="*/ 1830307 w 3143230"/>
              <a:gd name="connsiteY3" fmla="*/ 3186400 h 3819531"/>
              <a:gd name="connsiteX4" fmla="*/ 2290528 w 3143230"/>
              <a:gd name="connsiteY4" fmla="*/ 2875723 h 3819531"/>
              <a:gd name="connsiteX5" fmla="*/ 2691868 w 3143230"/>
              <a:gd name="connsiteY5" fmla="*/ 2410478 h 3819531"/>
              <a:gd name="connsiteX6" fmla="*/ 2952828 w 3143230"/>
              <a:gd name="connsiteY6" fmla="*/ 1791741 h 3819531"/>
              <a:gd name="connsiteX7" fmla="*/ 3070942 w 3143230"/>
              <a:gd name="connsiteY7" fmla="*/ 1249156 h 3819531"/>
              <a:gd name="connsiteX8" fmla="*/ 3133124 w 3143230"/>
              <a:gd name="connsiteY8" fmla="*/ 565382 h 3819531"/>
              <a:gd name="connsiteX9" fmla="*/ 3131575 w 3143230"/>
              <a:gd name="connsiteY9" fmla="*/ 3284 h 3819531"/>
              <a:gd name="connsiteX10" fmla="*/ 147855 w 3143230"/>
              <a:gd name="connsiteY10" fmla="*/ 0 h 3819531"/>
              <a:gd name="connsiteX11" fmla="*/ 140355 w 3143230"/>
              <a:gd name="connsiteY11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1724413 w 3037336"/>
              <a:gd name="connsiteY3" fmla="*/ 3186400 h 3819531"/>
              <a:gd name="connsiteX4" fmla="*/ 2184634 w 3037336"/>
              <a:gd name="connsiteY4" fmla="*/ 2875723 h 3819531"/>
              <a:gd name="connsiteX5" fmla="*/ 2585974 w 3037336"/>
              <a:gd name="connsiteY5" fmla="*/ 2410478 h 3819531"/>
              <a:gd name="connsiteX6" fmla="*/ 2846934 w 3037336"/>
              <a:gd name="connsiteY6" fmla="*/ 1791741 h 3819531"/>
              <a:gd name="connsiteX7" fmla="*/ 2965048 w 3037336"/>
              <a:gd name="connsiteY7" fmla="*/ 1249156 h 3819531"/>
              <a:gd name="connsiteX8" fmla="*/ 3027230 w 3037336"/>
              <a:gd name="connsiteY8" fmla="*/ 565382 h 3819531"/>
              <a:gd name="connsiteX9" fmla="*/ 3025681 w 3037336"/>
              <a:gd name="connsiteY9" fmla="*/ 3284 h 3819531"/>
              <a:gd name="connsiteX10" fmla="*/ 41961 w 3037336"/>
              <a:gd name="connsiteY10" fmla="*/ 0 h 3819531"/>
              <a:gd name="connsiteX11" fmla="*/ 34461 w 3037336"/>
              <a:gd name="connsiteY11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184638 w 3037340"/>
              <a:gd name="connsiteY3" fmla="*/ 2875723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587435 w 3037336"/>
              <a:gd name="connsiteY3" fmla="*/ 3612503 h 3819531"/>
              <a:gd name="connsiteX4" fmla="*/ 2585974 w 3037336"/>
              <a:gd name="connsiteY4" fmla="*/ 2410478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585978 w 3037340"/>
              <a:gd name="connsiteY4" fmla="*/ 2410478 h 3819531"/>
              <a:gd name="connsiteX5" fmla="*/ 2846938 w 3037340"/>
              <a:gd name="connsiteY5" fmla="*/ 1791741 h 3819531"/>
              <a:gd name="connsiteX6" fmla="*/ 2965052 w 3037340"/>
              <a:gd name="connsiteY6" fmla="*/ 1249156 h 3819531"/>
              <a:gd name="connsiteX7" fmla="*/ 3027234 w 3037340"/>
              <a:gd name="connsiteY7" fmla="*/ 565382 h 3819531"/>
              <a:gd name="connsiteX8" fmla="*/ 3025685 w 3037340"/>
              <a:gd name="connsiteY8" fmla="*/ 3284 h 3819531"/>
              <a:gd name="connsiteX9" fmla="*/ 41965 w 3037340"/>
              <a:gd name="connsiteY9" fmla="*/ 0 h 3819531"/>
              <a:gd name="connsiteX10" fmla="*/ 34465 w 3037340"/>
              <a:gd name="connsiteY10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846934 w 3037336"/>
              <a:gd name="connsiteY5" fmla="*/ 1791741 h 3819531"/>
              <a:gd name="connsiteX6" fmla="*/ 2965048 w 3037336"/>
              <a:gd name="connsiteY6" fmla="*/ 1249156 h 3819531"/>
              <a:gd name="connsiteX7" fmla="*/ 3027230 w 3037336"/>
              <a:gd name="connsiteY7" fmla="*/ 565382 h 3819531"/>
              <a:gd name="connsiteX8" fmla="*/ 3025681 w 3037336"/>
              <a:gd name="connsiteY8" fmla="*/ 3284 h 3819531"/>
              <a:gd name="connsiteX9" fmla="*/ 41961 w 3037336"/>
              <a:gd name="connsiteY9" fmla="*/ 0 h 3819531"/>
              <a:gd name="connsiteX10" fmla="*/ 34461 w 3037336"/>
              <a:gd name="connsiteY10" fmla="*/ 1398216 h 3819531"/>
              <a:gd name="connsiteX0" fmla="*/ 34465 w 3037340"/>
              <a:gd name="connsiteY0" fmla="*/ 1398216 h 3819531"/>
              <a:gd name="connsiteX1" fmla="*/ 468098 w 3037340"/>
              <a:gd name="connsiteY1" fmla="*/ 3475879 h 3819531"/>
              <a:gd name="connsiteX2" fmla="*/ 1279762 w 3037340"/>
              <a:gd name="connsiteY2" fmla="*/ 3531433 h 3819531"/>
              <a:gd name="connsiteX3" fmla="*/ 2302125 w 3037340"/>
              <a:gd name="connsiteY3" fmla="*/ 2899486 h 3819531"/>
              <a:gd name="connsiteX4" fmla="*/ 2787377 w 3037340"/>
              <a:gd name="connsiteY4" fmla="*/ 2410480 h 3819531"/>
              <a:gd name="connsiteX5" fmla="*/ 2965052 w 3037340"/>
              <a:gd name="connsiteY5" fmla="*/ 1249156 h 3819531"/>
              <a:gd name="connsiteX6" fmla="*/ 3027234 w 3037340"/>
              <a:gd name="connsiteY6" fmla="*/ 565382 h 3819531"/>
              <a:gd name="connsiteX7" fmla="*/ 3025685 w 3037340"/>
              <a:gd name="connsiteY7" fmla="*/ 3284 h 3819531"/>
              <a:gd name="connsiteX8" fmla="*/ 41965 w 3037340"/>
              <a:gd name="connsiteY8" fmla="*/ 0 h 3819531"/>
              <a:gd name="connsiteX9" fmla="*/ 34465 w 3037340"/>
              <a:gd name="connsiteY9" fmla="*/ 1398216 h 3819531"/>
              <a:gd name="connsiteX0" fmla="*/ 34461 w 3037336"/>
              <a:gd name="connsiteY0" fmla="*/ 1398216 h 3819531"/>
              <a:gd name="connsiteX1" fmla="*/ 468094 w 3037336"/>
              <a:gd name="connsiteY1" fmla="*/ 3475879 h 3819531"/>
              <a:gd name="connsiteX2" fmla="*/ 1279758 w 3037336"/>
              <a:gd name="connsiteY2" fmla="*/ 3531433 h 3819531"/>
              <a:gd name="connsiteX3" fmla="*/ 2302121 w 3037336"/>
              <a:gd name="connsiteY3" fmla="*/ 2899486 h 3819531"/>
              <a:gd name="connsiteX4" fmla="*/ 2787373 w 3037336"/>
              <a:gd name="connsiteY4" fmla="*/ 2410480 h 3819531"/>
              <a:gd name="connsiteX5" fmla="*/ 2965050 w 3037336"/>
              <a:gd name="connsiteY5" fmla="*/ 2009709 h 3819531"/>
              <a:gd name="connsiteX6" fmla="*/ 3027230 w 3037336"/>
              <a:gd name="connsiteY6" fmla="*/ 565382 h 3819531"/>
              <a:gd name="connsiteX7" fmla="*/ 3025681 w 3037336"/>
              <a:gd name="connsiteY7" fmla="*/ 3284 h 3819531"/>
              <a:gd name="connsiteX8" fmla="*/ 41961 w 3037336"/>
              <a:gd name="connsiteY8" fmla="*/ 0 h 3819531"/>
              <a:gd name="connsiteX9" fmla="*/ 34461 w 3037336"/>
              <a:gd name="connsiteY9" fmla="*/ 1398216 h 3819531"/>
              <a:gd name="connsiteX0" fmla="*/ 34465 w 3357480"/>
              <a:gd name="connsiteY0" fmla="*/ 1398216 h 3819531"/>
              <a:gd name="connsiteX1" fmla="*/ 468098 w 3357480"/>
              <a:gd name="connsiteY1" fmla="*/ 3475879 h 3819531"/>
              <a:gd name="connsiteX2" fmla="*/ 1279762 w 3357480"/>
              <a:gd name="connsiteY2" fmla="*/ 3531433 h 3819531"/>
              <a:gd name="connsiteX3" fmla="*/ 2302125 w 3357480"/>
              <a:gd name="connsiteY3" fmla="*/ 2899486 h 3819531"/>
              <a:gd name="connsiteX4" fmla="*/ 2787377 w 3357480"/>
              <a:gd name="connsiteY4" fmla="*/ 2410480 h 3819531"/>
              <a:gd name="connsiteX5" fmla="*/ 3317505 w 3357480"/>
              <a:gd name="connsiteY5" fmla="*/ 2009709 h 3819531"/>
              <a:gd name="connsiteX6" fmla="*/ 3027234 w 3357480"/>
              <a:gd name="connsiteY6" fmla="*/ 565382 h 3819531"/>
              <a:gd name="connsiteX7" fmla="*/ 3025685 w 3357480"/>
              <a:gd name="connsiteY7" fmla="*/ 3284 h 3819531"/>
              <a:gd name="connsiteX8" fmla="*/ 41965 w 3357480"/>
              <a:gd name="connsiteY8" fmla="*/ 0 h 3819531"/>
              <a:gd name="connsiteX9" fmla="*/ 34465 w 3357480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105725"/>
              <a:gd name="connsiteY0" fmla="*/ 1398216 h 3819531"/>
              <a:gd name="connsiteX1" fmla="*/ 468094 w 3105725"/>
              <a:gd name="connsiteY1" fmla="*/ 3475879 h 3819531"/>
              <a:gd name="connsiteX2" fmla="*/ 1279758 w 3105725"/>
              <a:gd name="connsiteY2" fmla="*/ 3531433 h 3819531"/>
              <a:gd name="connsiteX3" fmla="*/ 2302121 w 3105725"/>
              <a:gd name="connsiteY3" fmla="*/ 2899486 h 3819531"/>
              <a:gd name="connsiteX4" fmla="*/ 2787373 w 3105725"/>
              <a:gd name="connsiteY4" fmla="*/ 2410480 h 3819531"/>
              <a:gd name="connsiteX5" fmla="*/ 3065750 w 3105725"/>
              <a:gd name="connsiteY5" fmla="*/ 2009709 h 3819531"/>
              <a:gd name="connsiteX6" fmla="*/ 3027230 w 3105725"/>
              <a:gd name="connsiteY6" fmla="*/ 565382 h 3819531"/>
              <a:gd name="connsiteX7" fmla="*/ 3025681 w 3105725"/>
              <a:gd name="connsiteY7" fmla="*/ 3284 h 3819531"/>
              <a:gd name="connsiteX8" fmla="*/ 41961 w 3105725"/>
              <a:gd name="connsiteY8" fmla="*/ 0 h 3819531"/>
              <a:gd name="connsiteX9" fmla="*/ 34461 w 3105725"/>
              <a:gd name="connsiteY9" fmla="*/ 1398216 h 3819531"/>
              <a:gd name="connsiteX0" fmla="*/ 34465 w 3105729"/>
              <a:gd name="connsiteY0" fmla="*/ 1398216 h 3819531"/>
              <a:gd name="connsiteX1" fmla="*/ 468098 w 3105729"/>
              <a:gd name="connsiteY1" fmla="*/ 3475879 h 3819531"/>
              <a:gd name="connsiteX2" fmla="*/ 1279762 w 3105729"/>
              <a:gd name="connsiteY2" fmla="*/ 3531433 h 3819531"/>
              <a:gd name="connsiteX3" fmla="*/ 2302125 w 3105729"/>
              <a:gd name="connsiteY3" fmla="*/ 2899486 h 3819531"/>
              <a:gd name="connsiteX4" fmla="*/ 2787377 w 3105729"/>
              <a:gd name="connsiteY4" fmla="*/ 2410480 h 3819531"/>
              <a:gd name="connsiteX5" fmla="*/ 3065754 w 3105729"/>
              <a:gd name="connsiteY5" fmla="*/ 2009709 h 3819531"/>
              <a:gd name="connsiteX6" fmla="*/ 3027234 w 3105729"/>
              <a:gd name="connsiteY6" fmla="*/ 565382 h 3819531"/>
              <a:gd name="connsiteX7" fmla="*/ 3025685 w 3105729"/>
              <a:gd name="connsiteY7" fmla="*/ 3284 h 3819531"/>
              <a:gd name="connsiteX8" fmla="*/ 41965 w 3105729"/>
              <a:gd name="connsiteY8" fmla="*/ 0 h 3819531"/>
              <a:gd name="connsiteX9" fmla="*/ 34465 w 3105729"/>
              <a:gd name="connsiteY9" fmla="*/ 1398216 h 3819531"/>
              <a:gd name="connsiteX0" fmla="*/ 34461 w 3065750"/>
              <a:gd name="connsiteY0" fmla="*/ 1398216 h 3819531"/>
              <a:gd name="connsiteX1" fmla="*/ 468094 w 3065750"/>
              <a:gd name="connsiteY1" fmla="*/ 3475879 h 3819531"/>
              <a:gd name="connsiteX2" fmla="*/ 1279758 w 3065750"/>
              <a:gd name="connsiteY2" fmla="*/ 3531433 h 3819531"/>
              <a:gd name="connsiteX3" fmla="*/ 2302121 w 3065750"/>
              <a:gd name="connsiteY3" fmla="*/ 2899486 h 3819531"/>
              <a:gd name="connsiteX4" fmla="*/ 2787373 w 3065750"/>
              <a:gd name="connsiteY4" fmla="*/ 2410480 h 3819531"/>
              <a:gd name="connsiteX5" fmla="*/ 3065750 w 3065750"/>
              <a:gd name="connsiteY5" fmla="*/ 2009709 h 3819531"/>
              <a:gd name="connsiteX6" fmla="*/ 3027230 w 3065750"/>
              <a:gd name="connsiteY6" fmla="*/ 565382 h 3819531"/>
              <a:gd name="connsiteX7" fmla="*/ 3025681 w 3065750"/>
              <a:gd name="connsiteY7" fmla="*/ 3284 h 3819531"/>
              <a:gd name="connsiteX8" fmla="*/ 41961 w 3065750"/>
              <a:gd name="connsiteY8" fmla="*/ 0 h 3819531"/>
              <a:gd name="connsiteX9" fmla="*/ 34461 w 3065750"/>
              <a:gd name="connsiteY9" fmla="*/ 1398216 h 3819531"/>
              <a:gd name="connsiteX0" fmla="*/ 34465 w 3065754"/>
              <a:gd name="connsiteY0" fmla="*/ 1398216 h 3819531"/>
              <a:gd name="connsiteX1" fmla="*/ 468098 w 3065754"/>
              <a:gd name="connsiteY1" fmla="*/ 3475879 h 3819531"/>
              <a:gd name="connsiteX2" fmla="*/ 1279762 w 3065754"/>
              <a:gd name="connsiteY2" fmla="*/ 3531433 h 3819531"/>
              <a:gd name="connsiteX3" fmla="*/ 2302125 w 3065754"/>
              <a:gd name="connsiteY3" fmla="*/ 2899486 h 3819531"/>
              <a:gd name="connsiteX4" fmla="*/ 2787377 w 3065754"/>
              <a:gd name="connsiteY4" fmla="*/ 2410480 h 3819531"/>
              <a:gd name="connsiteX5" fmla="*/ 3065754 w 3065754"/>
              <a:gd name="connsiteY5" fmla="*/ 2009709 h 3819531"/>
              <a:gd name="connsiteX6" fmla="*/ 3027234 w 3065754"/>
              <a:gd name="connsiteY6" fmla="*/ 565382 h 3819531"/>
              <a:gd name="connsiteX7" fmla="*/ 3025685 w 3065754"/>
              <a:gd name="connsiteY7" fmla="*/ 3284 h 3819531"/>
              <a:gd name="connsiteX8" fmla="*/ 41965 w 3065754"/>
              <a:gd name="connsiteY8" fmla="*/ 0 h 3819531"/>
              <a:gd name="connsiteX9" fmla="*/ 34465 w 3065754"/>
              <a:gd name="connsiteY9" fmla="*/ 1398216 h 3819531"/>
              <a:gd name="connsiteX0" fmla="*/ 34461 w 3529646"/>
              <a:gd name="connsiteY0" fmla="*/ 1398216 h 3819531"/>
              <a:gd name="connsiteX1" fmla="*/ 468094 w 3529646"/>
              <a:gd name="connsiteY1" fmla="*/ 3475879 h 3819531"/>
              <a:gd name="connsiteX2" fmla="*/ 1279758 w 3529646"/>
              <a:gd name="connsiteY2" fmla="*/ 3531433 h 3819531"/>
              <a:gd name="connsiteX3" fmla="*/ 2302121 w 3529646"/>
              <a:gd name="connsiteY3" fmla="*/ 2899486 h 3819531"/>
              <a:gd name="connsiteX4" fmla="*/ 2787373 w 3529646"/>
              <a:gd name="connsiteY4" fmla="*/ 2410480 h 3819531"/>
              <a:gd name="connsiteX5" fmla="*/ 3065750 w 3529646"/>
              <a:gd name="connsiteY5" fmla="*/ 2009709 h 3819531"/>
              <a:gd name="connsiteX6" fmla="*/ 3025681 w 3529646"/>
              <a:gd name="connsiteY6" fmla="*/ 3284 h 3819531"/>
              <a:gd name="connsiteX7" fmla="*/ 41961 w 3529646"/>
              <a:gd name="connsiteY7" fmla="*/ 0 h 3819531"/>
              <a:gd name="connsiteX8" fmla="*/ 34461 w 3529646"/>
              <a:gd name="connsiteY8" fmla="*/ 1398216 h 3819531"/>
              <a:gd name="connsiteX0" fmla="*/ 34465 w 3105472"/>
              <a:gd name="connsiteY0" fmla="*/ 1398216 h 3819531"/>
              <a:gd name="connsiteX1" fmla="*/ 468098 w 3105472"/>
              <a:gd name="connsiteY1" fmla="*/ 3475879 h 3819531"/>
              <a:gd name="connsiteX2" fmla="*/ 1279762 w 3105472"/>
              <a:gd name="connsiteY2" fmla="*/ 3531433 h 3819531"/>
              <a:gd name="connsiteX3" fmla="*/ 2302125 w 3105472"/>
              <a:gd name="connsiteY3" fmla="*/ 2899486 h 3819531"/>
              <a:gd name="connsiteX4" fmla="*/ 2787377 w 3105472"/>
              <a:gd name="connsiteY4" fmla="*/ 2410480 h 3819531"/>
              <a:gd name="connsiteX5" fmla="*/ 3065754 w 3105472"/>
              <a:gd name="connsiteY5" fmla="*/ 2009709 h 3819531"/>
              <a:gd name="connsiteX6" fmla="*/ 3025685 w 3105472"/>
              <a:gd name="connsiteY6" fmla="*/ 3284 h 3819531"/>
              <a:gd name="connsiteX7" fmla="*/ 41965 w 3105472"/>
              <a:gd name="connsiteY7" fmla="*/ 0 h 3819531"/>
              <a:gd name="connsiteX8" fmla="*/ 34465 w 3105472"/>
              <a:gd name="connsiteY8" fmla="*/ 1398216 h 3819531"/>
              <a:gd name="connsiteX0" fmla="*/ 34461 w 3546432"/>
              <a:gd name="connsiteY0" fmla="*/ 1442468 h 3863783"/>
              <a:gd name="connsiteX1" fmla="*/ 468094 w 3546432"/>
              <a:gd name="connsiteY1" fmla="*/ 3520131 h 3863783"/>
              <a:gd name="connsiteX2" fmla="*/ 1279758 w 3546432"/>
              <a:gd name="connsiteY2" fmla="*/ 3575685 h 3863783"/>
              <a:gd name="connsiteX3" fmla="*/ 2302121 w 3546432"/>
              <a:gd name="connsiteY3" fmla="*/ 2943738 h 3863783"/>
              <a:gd name="connsiteX4" fmla="*/ 2787373 w 3546432"/>
              <a:gd name="connsiteY4" fmla="*/ 2454732 h 3863783"/>
              <a:gd name="connsiteX5" fmla="*/ 3065750 w 3546432"/>
              <a:gd name="connsiteY5" fmla="*/ 2053961 h 3863783"/>
              <a:gd name="connsiteX6" fmla="*/ 3478832 w 3546432"/>
              <a:gd name="connsiteY6" fmla="*/ 0 h 3863783"/>
              <a:gd name="connsiteX7" fmla="*/ 41961 w 3546432"/>
              <a:gd name="connsiteY7" fmla="*/ 44252 h 3863783"/>
              <a:gd name="connsiteX8" fmla="*/ 34461 w 3546432"/>
              <a:gd name="connsiteY8" fmla="*/ 1442468 h 3863783"/>
              <a:gd name="connsiteX0" fmla="*/ 34465 w 3479304"/>
              <a:gd name="connsiteY0" fmla="*/ 1442468 h 3863783"/>
              <a:gd name="connsiteX1" fmla="*/ 468098 w 3479304"/>
              <a:gd name="connsiteY1" fmla="*/ 3520131 h 3863783"/>
              <a:gd name="connsiteX2" fmla="*/ 1279762 w 3479304"/>
              <a:gd name="connsiteY2" fmla="*/ 3575685 h 3863783"/>
              <a:gd name="connsiteX3" fmla="*/ 2302125 w 3479304"/>
              <a:gd name="connsiteY3" fmla="*/ 2943738 h 3863783"/>
              <a:gd name="connsiteX4" fmla="*/ 2787377 w 3479304"/>
              <a:gd name="connsiteY4" fmla="*/ 2454732 h 3863783"/>
              <a:gd name="connsiteX5" fmla="*/ 3065754 w 3479304"/>
              <a:gd name="connsiteY5" fmla="*/ 2053961 h 3863783"/>
              <a:gd name="connsiteX6" fmla="*/ 3478836 w 3479304"/>
              <a:gd name="connsiteY6" fmla="*/ 0 h 3863783"/>
              <a:gd name="connsiteX7" fmla="*/ 41965 w 3479304"/>
              <a:gd name="connsiteY7" fmla="*/ 44252 h 3863783"/>
              <a:gd name="connsiteX8" fmla="*/ 34465 w 3479304"/>
              <a:gd name="connsiteY8" fmla="*/ 1442468 h 3863783"/>
              <a:gd name="connsiteX0" fmla="*/ 34461 w 3105468"/>
              <a:gd name="connsiteY0" fmla="*/ 1442468 h 3863783"/>
              <a:gd name="connsiteX1" fmla="*/ 468094 w 3105468"/>
              <a:gd name="connsiteY1" fmla="*/ 3520131 h 3863783"/>
              <a:gd name="connsiteX2" fmla="*/ 1279758 w 3105468"/>
              <a:gd name="connsiteY2" fmla="*/ 3575685 h 3863783"/>
              <a:gd name="connsiteX3" fmla="*/ 2302121 w 3105468"/>
              <a:gd name="connsiteY3" fmla="*/ 2943738 h 3863783"/>
              <a:gd name="connsiteX4" fmla="*/ 2787373 w 3105468"/>
              <a:gd name="connsiteY4" fmla="*/ 2454732 h 3863783"/>
              <a:gd name="connsiteX5" fmla="*/ 3065750 w 3105468"/>
              <a:gd name="connsiteY5" fmla="*/ 2053961 h 3863783"/>
              <a:gd name="connsiteX6" fmla="*/ 3092817 w 3105468"/>
              <a:gd name="connsiteY6" fmla="*/ 0 h 3863783"/>
              <a:gd name="connsiteX7" fmla="*/ 41961 w 3105468"/>
              <a:gd name="connsiteY7" fmla="*/ 44252 h 3863783"/>
              <a:gd name="connsiteX8" fmla="*/ 34461 w 3105468"/>
              <a:gd name="connsiteY8" fmla="*/ 1442468 h 3863783"/>
              <a:gd name="connsiteX0" fmla="*/ 375324 w 3446331"/>
              <a:gd name="connsiteY0" fmla="*/ 1442468 h 4814470"/>
              <a:gd name="connsiteX1" fmla="*/ 305455 w 3446331"/>
              <a:gd name="connsiteY1" fmla="*/ 4470819 h 4814470"/>
              <a:gd name="connsiteX2" fmla="*/ 1620621 w 3446331"/>
              <a:gd name="connsiteY2" fmla="*/ 3575685 h 4814470"/>
              <a:gd name="connsiteX3" fmla="*/ 2642984 w 3446331"/>
              <a:gd name="connsiteY3" fmla="*/ 2943738 h 4814470"/>
              <a:gd name="connsiteX4" fmla="*/ 3128236 w 3446331"/>
              <a:gd name="connsiteY4" fmla="*/ 2454732 h 4814470"/>
              <a:gd name="connsiteX5" fmla="*/ 3406613 w 3446331"/>
              <a:gd name="connsiteY5" fmla="*/ 2053961 h 4814470"/>
              <a:gd name="connsiteX6" fmla="*/ 3433680 w 3446331"/>
              <a:gd name="connsiteY6" fmla="*/ 0 h 4814470"/>
              <a:gd name="connsiteX7" fmla="*/ 382824 w 3446331"/>
              <a:gd name="connsiteY7" fmla="*/ 44252 h 4814470"/>
              <a:gd name="connsiteX8" fmla="*/ 375324 w 3446331"/>
              <a:gd name="connsiteY8" fmla="*/ 1442468 h 4814470"/>
              <a:gd name="connsiteX0" fmla="*/ 34461 w 3105468"/>
              <a:gd name="connsiteY0" fmla="*/ 1442468 h 3624215"/>
              <a:gd name="connsiteX1" fmla="*/ 384180 w 3105468"/>
              <a:gd name="connsiteY1" fmla="*/ 3234924 h 3624215"/>
              <a:gd name="connsiteX2" fmla="*/ 1279758 w 3105468"/>
              <a:gd name="connsiteY2" fmla="*/ 3575685 h 3624215"/>
              <a:gd name="connsiteX3" fmla="*/ 2302121 w 3105468"/>
              <a:gd name="connsiteY3" fmla="*/ 2943738 h 3624215"/>
              <a:gd name="connsiteX4" fmla="*/ 2787373 w 3105468"/>
              <a:gd name="connsiteY4" fmla="*/ 2454732 h 3624215"/>
              <a:gd name="connsiteX5" fmla="*/ 3065750 w 3105468"/>
              <a:gd name="connsiteY5" fmla="*/ 2053961 h 3624215"/>
              <a:gd name="connsiteX6" fmla="*/ 3092817 w 3105468"/>
              <a:gd name="connsiteY6" fmla="*/ 0 h 3624215"/>
              <a:gd name="connsiteX7" fmla="*/ 41961 w 3105468"/>
              <a:gd name="connsiteY7" fmla="*/ 44252 h 3624215"/>
              <a:gd name="connsiteX8" fmla="*/ 34461 w 3105468"/>
              <a:gd name="connsiteY8" fmla="*/ 1442468 h 3624215"/>
              <a:gd name="connsiteX0" fmla="*/ 34465 w 3105472"/>
              <a:gd name="connsiteY0" fmla="*/ 1442468 h 4907646"/>
              <a:gd name="connsiteX1" fmla="*/ 384184 w 3105472"/>
              <a:gd name="connsiteY1" fmla="*/ 3234924 h 4907646"/>
              <a:gd name="connsiteX2" fmla="*/ 1279763 w 3105472"/>
              <a:gd name="connsiteY2" fmla="*/ 4859116 h 4907646"/>
              <a:gd name="connsiteX3" fmla="*/ 2302125 w 3105472"/>
              <a:gd name="connsiteY3" fmla="*/ 2943738 h 4907646"/>
              <a:gd name="connsiteX4" fmla="*/ 2787377 w 3105472"/>
              <a:gd name="connsiteY4" fmla="*/ 2454732 h 4907646"/>
              <a:gd name="connsiteX5" fmla="*/ 3065754 w 3105472"/>
              <a:gd name="connsiteY5" fmla="*/ 2053961 h 4907646"/>
              <a:gd name="connsiteX6" fmla="*/ 3092821 w 3105472"/>
              <a:gd name="connsiteY6" fmla="*/ 0 h 4907646"/>
              <a:gd name="connsiteX7" fmla="*/ 41965 w 3105472"/>
              <a:gd name="connsiteY7" fmla="*/ 44252 h 4907646"/>
              <a:gd name="connsiteX8" fmla="*/ 34465 w 3105472"/>
              <a:gd name="connsiteY8" fmla="*/ 1442468 h 4907646"/>
              <a:gd name="connsiteX0" fmla="*/ 34461 w 3105468"/>
              <a:gd name="connsiteY0" fmla="*/ 1442468 h 3671746"/>
              <a:gd name="connsiteX1" fmla="*/ 384180 w 3105468"/>
              <a:gd name="connsiteY1" fmla="*/ 3234924 h 3671746"/>
              <a:gd name="connsiteX2" fmla="*/ 1044790 w 3105468"/>
              <a:gd name="connsiteY2" fmla="*/ 3623216 h 3671746"/>
              <a:gd name="connsiteX3" fmla="*/ 2302121 w 3105468"/>
              <a:gd name="connsiteY3" fmla="*/ 2943738 h 3671746"/>
              <a:gd name="connsiteX4" fmla="*/ 2787373 w 3105468"/>
              <a:gd name="connsiteY4" fmla="*/ 2454732 h 3671746"/>
              <a:gd name="connsiteX5" fmla="*/ 3065750 w 3105468"/>
              <a:gd name="connsiteY5" fmla="*/ 2053961 h 3671746"/>
              <a:gd name="connsiteX6" fmla="*/ 3092817 w 3105468"/>
              <a:gd name="connsiteY6" fmla="*/ 0 h 3671746"/>
              <a:gd name="connsiteX7" fmla="*/ 41961 w 3105468"/>
              <a:gd name="connsiteY7" fmla="*/ 44252 h 3671746"/>
              <a:gd name="connsiteX8" fmla="*/ 34461 w 3105468"/>
              <a:gd name="connsiteY8" fmla="*/ 1442468 h 3671746"/>
              <a:gd name="connsiteX0" fmla="*/ 677421 w 3748428"/>
              <a:gd name="connsiteY0" fmla="*/ 1442468 h 4576800"/>
              <a:gd name="connsiteX1" fmla="*/ 305455 w 3748428"/>
              <a:gd name="connsiteY1" fmla="*/ 4233149 h 4576800"/>
              <a:gd name="connsiteX2" fmla="*/ 1687750 w 3748428"/>
              <a:gd name="connsiteY2" fmla="*/ 3623216 h 4576800"/>
              <a:gd name="connsiteX3" fmla="*/ 2945081 w 3748428"/>
              <a:gd name="connsiteY3" fmla="*/ 2943738 h 4576800"/>
              <a:gd name="connsiteX4" fmla="*/ 3430333 w 3748428"/>
              <a:gd name="connsiteY4" fmla="*/ 2454732 h 4576800"/>
              <a:gd name="connsiteX5" fmla="*/ 3708710 w 3748428"/>
              <a:gd name="connsiteY5" fmla="*/ 2053961 h 4576800"/>
              <a:gd name="connsiteX6" fmla="*/ 3735777 w 3748428"/>
              <a:gd name="connsiteY6" fmla="*/ 0 h 4576800"/>
              <a:gd name="connsiteX7" fmla="*/ 684921 w 3748428"/>
              <a:gd name="connsiteY7" fmla="*/ 44252 h 4576800"/>
              <a:gd name="connsiteX8" fmla="*/ 677421 w 3748428"/>
              <a:gd name="connsiteY8" fmla="*/ 1442468 h 4576800"/>
              <a:gd name="connsiteX0" fmla="*/ 34461 w 3105468"/>
              <a:gd name="connsiteY0" fmla="*/ 1442468 h 3667788"/>
              <a:gd name="connsiteX1" fmla="*/ 333829 w 3105468"/>
              <a:gd name="connsiteY1" fmla="*/ 3211159 h 3667788"/>
              <a:gd name="connsiteX2" fmla="*/ 1044790 w 3105468"/>
              <a:gd name="connsiteY2" fmla="*/ 3623216 h 3667788"/>
              <a:gd name="connsiteX3" fmla="*/ 2302121 w 3105468"/>
              <a:gd name="connsiteY3" fmla="*/ 2943738 h 3667788"/>
              <a:gd name="connsiteX4" fmla="*/ 2787373 w 3105468"/>
              <a:gd name="connsiteY4" fmla="*/ 2454732 h 3667788"/>
              <a:gd name="connsiteX5" fmla="*/ 3065750 w 3105468"/>
              <a:gd name="connsiteY5" fmla="*/ 2053961 h 3667788"/>
              <a:gd name="connsiteX6" fmla="*/ 3092817 w 3105468"/>
              <a:gd name="connsiteY6" fmla="*/ 0 h 3667788"/>
              <a:gd name="connsiteX7" fmla="*/ 41961 w 3105468"/>
              <a:gd name="connsiteY7" fmla="*/ 44252 h 3667788"/>
              <a:gd name="connsiteX8" fmla="*/ 34461 w 3105468"/>
              <a:gd name="connsiteY8" fmla="*/ 1442468 h 3667788"/>
              <a:gd name="connsiteX0" fmla="*/ 34465 w 3105472"/>
              <a:gd name="connsiteY0" fmla="*/ 1442468 h 3994108"/>
              <a:gd name="connsiteX1" fmla="*/ 333833 w 3105472"/>
              <a:gd name="connsiteY1" fmla="*/ 3211159 h 3994108"/>
              <a:gd name="connsiteX2" fmla="*/ 1044794 w 3105472"/>
              <a:gd name="connsiteY2" fmla="*/ 3623216 h 3994108"/>
              <a:gd name="connsiteX3" fmla="*/ 2302125 w 3105472"/>
              <a:gd name="connsiteY3" fmla="*/ 3799359 h 3994108"/>
              <a:gd name="connsiteX4" fmla="*/ 2787377 w 3105472"/>
              <a:gd name="connsiteY4" fmla="*/ 2454732 h 3994108"/>
              <a:gd name="connsiteX5" fmla="*/ 3065754 w 3105472"/>
              <a:gd name="connsiteY5" fmla="*/ 2053961 h 3994108"/>
              <a:gd name="connsiteX6" fmla="*/ 3092821 w 3105472"/>
              <a:gd name="connsiteY6" fmla="*/ 0 h 3994108"/>
              <a:gd name="connsiteX7" fmla="*/ 41965 w 3105472"/>
              <a:gd name="connsiteY7" fmla="*/ 44252 h 3994108"/>
              <a:gd name="connsiteX8" fmla="*/ 34465 w 3105472"/>
              <a:gd name="connsiteY8" fmla="*/ 1442468 h 3994108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44252 h 3636095"/>
              <a:gd name="connsiteX8" fmla="*/ 34461 w 3105468"/>
              <a:gd name="connsiteY8" fmla="*/ 1442468 h 3636095"/>
              <a:gd name="connsiteX0" fmla="*/ 34465 w 3105472"/>
              <a:gd name="connsiteY0" fmla="*/ 1683423 h 3877050"/>
              <a:gd name="connsiteX1" fmla="*/ 333833 w 3105472"/>
              <a:gd name="connsiteY1" fmla="*/ 3452114 h 3877050"/>
              <a:gd name="connsiteX2" fmla="*/ 1044794 w 3105472"/>
              <a:gd name="connsiteY2" fmla="*/ 3864171 h 3877050"/>
              <a:gd name="connsiteX3" fmla="*/ 2000024 w 3105472"/>
              <a:gd name="connsiteY3" fmla="*/ 3374833 h 3877050"/>
              <a:gd name="connsiteX4" fmla="*/ 2787377 w 3105472"/>
              <a:gd name="connsiteY4" fmla="*/ 2695687 h 3877050"/>
              <a:gd name="connsiteX5" fmla="*/ 3065754 w 3105472"/>
              <a:gd name="connsiteY5" fmla="*/ 2294916 h 3877050"/>
              <a:gd name="connsiteX6" fmla="*/ 3092821 w 3105472"/>
              <a:gd name="connsiteY6" fmla="*/ 240955 h 3877050"/>
              <a:gd name="connsiteX7" fmla="*/ 41965 w 3105472"/>
              <a:gd name="connsiteY7" fmla="*/ 0 h 3877050"/>
              <a:gd name="connsiteX8" fmla="*/ 34465 w 3105472"/>
              <a:gd name="connsiteY8" fmla="*/ 1683423 h 3877050"/>
              <a:gd name="connsiteX0" fmla="*/ 34461 w 3105468"/>
              <a:gd name="connsiteY0" fmla="*/ 1442468 h 3636095"/>
              <a:gd name="connsiteX1" fmla="*/ 333829 w 3105468"/>
              <a:gd name="connsiteY1" fmla="*/ 3211159 h 3636095"/>
              <a:gd name="connsiteX2" fmla="*/ 1044790 w 3105468"/>
              <a:gd name="connsiteY2" fmla="*/ 3623216 h 3636095"/>
              <a:gd name="connsiteX3" fmla="*/ 2000020 w 3105468"/>
              <a:gd name="connsiteY3" fmla="*/ 3133878 h 3636095"/>
              <a:gd name="connsiteX4" fmla="*/ 2787373 w 3105468"/>
              <a:gd name="connsiteY4" fmla="*/ 2454732 h 3636095"/>
              <a:gd name="connsiteX5" fmla="*/ 3065750 w 3105468"/>
              <a:gd name="connsiteY5" fmla="*/ 2053961 h 3636095"/>
              <a:gd name="connsiteX6" fmla="*/ 3092817 w 3105468"/>
              <a:gd name="connsiteY6" fmla="*/ 0 h 3636095"/>
              <a:gd name="connsiteX7" fmla="*/ 41961 w 3105468"/>
              <a:gd name="connsiteY7" fmla="*/ 8601 h 3636095"/>
              <a:gd name="connsiteX8" fmla="*/ 34461 w 3105468"/>
              <a:gd name="connsiteY8" fmla="*/ 1442468 h 3636095"/>
              <a:gd name="connsiteX0" fmla="*/ 34465 w 3281698"/>
              <a:gd name="connsiteY0" fmla="*/ 1442468 h 3636095"/>
              <a:gd name="connsiteX1" fmla="*/ 333833 w 3281698"/>
              <a:gd name="connsiteY1" fmla="*/ 3211159 h 3636095"/>
              <a:gd name="connsiteX2" fmla="*/ 1044794 w 3281698"/>
              <a:gd name="connsiteY2" fmla="*/ 3623216 h 3636095"/>
              <a:gd name="connsiteX3" fmla="*/ 2000024 w 3281698"/>
              <a:gd name="connsiteY3" fmla="*/ 3133878 h 3636095"/>
              <a:gd name="connsiteX4" fmla="*/ 2787377 w 3281698"/>
              <a:gd name="connsiteY4" fmla="*/ 2454732 h 3636095"/>
              <a:gd name="connsiteX5" fmla="*/ 3241980 w 3281698"/>
              <a:gd name="connsiteY5" fmla="*/ 2053961 h 3636095"/>
              <a:gd name="connsiteX6" fmla="*/ 3092821 w 3281698"/>
              <a:gd name="connsiteY6" fmla="*/ 0 h 3636095"/>
              <a:gd name="connsiteX7" fmla="*/ 41965 w 3281698"/>
              <a:gd name="connsiteY7" fmla="*/ 8601 h 3636095"/>
              <a:gd name="connsiteX8" fmla="*/ 34465 w 3281698"/>
              <a:gd name="connsiteY8" fmla="*/ 1442468 h 3636095"/>
              <a:gd name="connsiteX0" fmla="*/ 34461 w 3241977"/>
              <a:gd name="connsiteY0" fmla="*/ 1442468 h 3636095"/>
              <a:gd name="connsiteX1" fmla="*/ 333829 w 3241977"/>
              <a:gd name="connsiteY1" fmla="*/ 3211159 h 3636095"/>
              <a:gd name="connsiteX2" fmla="*/ 1044790 w 3241977"/>
              <a:gd name="connsiteY2" fmla="*/ 3623216 h 3636095"/>
              <a:gd name="connsiteX3" fmla="*/ 2000020 w 3241977"/>
              <a:gd name="connsiteY3" fmla="*/ 3133878 h 3636095"/>
              <a:gd name="connsiteX4" fmla="*/ 2787373 w 3241977"/>
              <a:gd name="connsiteY4" fmla="*/ 2454732 h 3636095"/>
              <a:gd name="connsiteX5" fmla="*/ 3241976 w 3241977"/>
              <a:gd name="connsiteY5" fmla="*/ 2053961 h 3636095"/>
              <a:gd name="connsiteX6" fmla="*/ 3092817 w 3241977"/>
              <a:gd name="connsiteY6" fmla="*/ 0 h 3636095"/>
              <a:gd name="connsiteX7" fmla="*/ 41961 w 3241977"/>
              <a:gd name="connsiteY7" fmla="*/ 8601 h 3636095"/>
              <a:gd name="connsiteX8" fmla="*/ 34461 w 3241977"/>
              <a:gd name="connsiteY8" fmla="*/ 1442468 h 3636095"/>
              <a:gd name="connsiteX0" fmla="*/ 34465 w 3256523"/>
              <a:gd name="connsiteY0" fmla="*/ 1442468 h 3636095"/>
              <a:gd name="connsiteX1" fmla="*/ 333833 w 3256523"/>
              <a:gd name="connsiteY1" fmla="*/ 3211159 h 3636095"/>
              <a:gd name="connsiteX2" fmla="*/ 1044794 w 3256523"/>
              <a:gd name="connsiteY2" fmla="*/ 3623216 h 3636095"/>
              <a:gd name="connsiteX3" fmla="*/ 2000024 w 3256523"/>
              <a:gd name="connsiteY3" fmla="*/ 3133878 h 3636095"/>
              <a:gd name="connsiteX4" fmla="*/ 2787377 w 3256523"/>
              <a:gd name="connsiteY4" fmla="*/ 2454732 h 3636095"/>
              <a:gd name="connsiteX5" fmla="*/ 3241980 w 3256523"/>
              <a:gd name="connsiteY5" fmla="*/ 2053961 h 3636095"/>
              <a:gd name="connsiteX6" fmla="*/ 3092821 w 3256523"/>
              <a:gd name="connsiteY6" fmla="*/ 0 h 3636095"/>
              <a:gd name="connsiteX7" fmla="*/ 41965 w 3256523"/>
              <a:gd name="connsiteY7" fmla="*/ 8601 h 3636095"/>
              <a:gd name="connsiteX8" fmla="*/ 34465 w 3256523"/>
              <a:gd name="connsiteY8" fmla="*/ 1442468 h 3636095"/>
              <a:gd name="connsiteX0" fmla="*/ 34461 w 3093285"/>
              <a:gd name="connsiteY0" fmla="*/ 1442468 h 3636095"/>
              <a:gd name="connsiteX1" fmla="*/ 333829 w 3093285"/>
              <a:gd name="connsiteY1" fmla="*/ 3211159 h 3636095"/>
              <a:gd name="connsiteX2" fmla="*/ 1044790 w 3093285"/>
              <a:gd name="connsiteY2" fmla="*/ 3623216 h 3636095"/>
              <a:gd name="connsiteX3" fmla="*/ 2000020 w 3093285"/>
              <a:gd name="connsiteY3" fmla="*/ 3133878 h 3636095"/>
              <a:gd name="connsiteX4" fmla="*/ 2787373 w 3093285"/>
              <a:gd name="connsiteY4" fmla="*/ 2454732 h 3636095"/>
              <a:gd name="connsiteX5" fmla="*/ 3053164 w 3093285"/>
              <a:gd name="connsiteY5" fmla="*/ 2053961 h 3636095"/>
              <a:gd name="connsiteX6" fmla="*/ 3092817 w 3093285"/>
              <a:gd name="connsiteY6" fmla="*/ 0 h 3636095"/>
              <a:gd name="connsiteX7" fmla="*/ 41961 w 3093285"/>
              <a:gd name="connsiteY7" fmla="*/ 8601 h 3636095"/>
              <a:gd name="connsiteX8" fmla="*/ 34461 w 3093285"/>
              <a:gd name="connsiteY8" fmla="*/ 1442468 h 3636095"/>
              <a:gd name="connsiteX0" fmla="*/ 34465 w 3395390"/>
              <a:gd name="connsiteY0" fmla="*/ 1442468 h 3636095"/>
              <a:gd name="connsiteX1" fmla="*/ 333833 w 3395390"/>
              <a:gd name="connsiteY1" fmla="*/ 3211159 h 3636095"/>
              <a:gd name="connsiteX2" fmla="*/ 1044794 w 3395390"/>
              <a:gd name="connsiteY2" fmla="*/ 3623216 h 3636095"/>
              <a:gd name="connsiteX3" fmla="*/ 2000024 w 3395390"/>
              <a:gd name="connsiteY3" fmla="*/ 3133878 h 3636095"/>
              <a:gd name="connsiteX4" fmla="*/ 2787377 w 3395390"/>
              <a:gd name="connsiteY4" fmla="*/ 2454732 h 3636095"/>
              <a:gd name="connsiteX5" fmla="*/ 3053168 w 3395390"/>
              <a:gd name="connsiteY5" fmla="*/ 2053961 h 3636095"/>
              <a:gd name="connsiteX6" fmla="*/ 3394922 w 3395390"/>
              <a:gd name="connsiteY6" fmla="*/ 0 h 3636095"/>
              <a:gd name="connsiteX7" fmla="*/ 41965 w 3395390"/>
              <a:gd name="connsiteY7" fmla="*/ 8601 h 3636095"/>
              <a:gd name="connsiteX8" fmla="*/ 34465 w 3395390"/>
              <a:gd name="connsiteY8" fmla="*/ 1442468 h 3636095"/>
              <a:gd name="connsiteX0" fmla="*/ 34461 w 3067705"/>
              <a:gd name="connsiteY0" fmla="*/ 1442468 h 3636095"/>
              <a:gd name="connsiteX1" fmla="*/ 333829 w 3067705"/>
              <a:gd name="connsiteY1" fmla="*/ 3211159 h 3636095"/>
              <a:gd name="connsiteX2" fmla="*/ 1044790 w 3067705"/>
              <a:gd name="connsiteY2" fmla="*/ 3623216 h 3636095"/>
              <a:gd name="connsiteX3" fmla="*/ 2000020 w 3067705"/>
              <a:gd name="connsiteY3" fmla="*/ 3133878 h 3636095"/>
              <a:gd name="connsiteX4" fmla="*/ 2787373 w 3067705"/>
              <a:gd name="connsiteY4" fmla="*/ 2454732 h 3636095"/>
              <a:gd name="connsiteX5" fmla="*/ 3053164 w 3067705"/>
              <a:gd name="connsiteY5" fmla="*/ 2053961 h 3636095"/>
              <a:gd name="connsiteX6" fmla="*/ 3042467 w 3067705"/>
              <a:gd name="connsiteY6" fmla="*/ 0 h 3636095"/>
              <a:gd name="connsiteX7" fmla="*/ 41961 w 3067705"/>
              <a:gd name="connsiteY7" fmla="*/ 8601 h 3636095"/>
              <a:gd name="connsiteX8" fmla="*/ 34461 w 3067705"/>
              <a:gd name="connsiteY8" fmla="*/ 1442468 h 3636095"/>
              <a:gd name="connsiteX0" fmla="*/ 34465 w 3067713"/>
              <a:gd name="connsiteY0" fmla="*/ 1442468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5 w 3067713"/>
              <a:gd name="connsiteY8" fmla="*/ 1442468 h 3636095"/>
              <a:gd name="connsiteX0" fmla="*/ 0 w 3297583"/>
              <a:gd name="connsiteY0" fmla="*/ 1442467 h 3636095"/>
              <a:gd name="connsiteX1" fmla="*/ 563707 w 3297583"/>
              <a:gd name="connsiteY1" fmla="*/ 3211159 h 3636095"/>
              <a:gd name="connsiteX2" fmla="*/ 1274668 w 3297583"/>
              <a:gd name="connsiteY2" fmla="*/ 3623216 h 3636095"/>
              <a:gd name="connsiteX3" fmla="*/ 2229898 w 3297583"/>
              <a:gd name="connsiteY3" fmla="*/ 3133878 h 3636095"/>
              <a:gd name="connsiteX4" fmla="*/ 3017251 w 3297583"/>
              <a:gd name="connsiteY4" fmla="*/ 2454732 h 3636095"/>
              <a:gd name="connsiteX5" fmla="*/ 3283042 w 3297583"/>
              <a:gd name="connsiteY5" fmla="*/ 2053961 h 3636095"/>
              <a:gd name="connsiteX6" fmla="*/ 3272345 w 3297583"/>
              <a:gd name="connsiteY6" fmla="*/ 0 h 3636095"/>
              <a:gd name="connsiteX7" fmla="*/ 271839 w 3297583"/>
              <a:gd name="connsiteY7" fmla="*/ 8601 h 3636095"/>
              <a:gd name="connsiteX8" fmla="*/ 0 w 3297583"/>
              <a:gd name="connsiteY8" fmla="*/ 1442467 h 3636095"/>
              <a:gd name="connsiteX0" fmla="*/ 34464 w 3067713"/>
              <a:gd name="connsiteY0" fmla="*/ 1442467 h 3636095"/>
              <a:gd name="connsiteX1" fmla="*/ 333833 w 3067713"/>
              <a:gd name="connsiteY1" fmla="*/ 3211159 h 3636095"/>
              <a:gd name="connsiteX2" fmla="*/ 1044794 w 3067713"/>
              <a:gd name="connsiteY2" fmla="*/ 3623216 h 3636095"/>
              <a:gd name="connsiteX3" fmla="*/ 2000024 w 3067713"/>
              <a:gd name="connsiteY3" fmla="*/ 3133878 h 3636095"/>
              <a:gd name="connsiteX4" fmla="*/ 2787377 w 3067713"/>
              <a:gd name="connsiteY4" fmla="*/ 2454732 h 3636095"/>
              <a:gd name="connsiteX5" fmla="*/ 3053168 w 3067713"/>
              <a:gd name="connsiteY5" fmla="*/ 2053961 h 3636095"/>
              <a:gd name="connsiteX6" fmla="*/ 3042471 w 3067713"/>
              <a:gd name="connsiteY6" fmla="*/ 0 h 3636095"/>
              <a:gd name="connsiteX7" fmla="*/ 41965 w 3067713"/>
              <a:gd name="connsiteY7" fmla="*/ 8601 h 3636095"/>
              <a:gd name="connsiteX8" fmla="*/ 34464 w 3067713"/>
              <a:gd name="connsiteY8" fmla="*/ 1442467 h 3636095"/>
              <a:gd name="connsiteX0" fmla="*/ 6086 w 3039331"/>
              <a:gd name="connsiteY0" fmla="*/ 1442467 h 3636095"/>
              <a:gd name="connsiteX1" fmla="*/ 305455 w 3039331"/>
              <a:gd name="connsiteY1" fmla="*/ 3211159 h 3636095"/>
              <a:gd name="connsiteX2" fmla="*/ 1016416 w 3039331"/>
              <a:gd name="connsiteY2" fmla="*/ 3623216 h 3636095"/>
              <a:gd name="connsiteX3" fmla="*/ 1971646 w 3039331"/>
              <a:gd name="connsiteY3" fmla="*/ 3133878 h 3636095"/>
              <a:gd name="connsiteX4" fmla="*/ 2758999 w 3039331"/>
              <a:gd name="connsiteY4" fmla="*/ 2454732 h 3636095"/>
              <a:gd name="connsiteX5" fmla="*/ 3024790 w 3039331"/>
              <a:gd name="connsiteY5" fmla="*/ 2053961 h 3636095"/>
              <a:gd name="connsiteX6" fmla="*/ 3014093 w 3039331"/>
              <a:gd name="connsiteY6" fmla="*/ 0 h 3636095"/>
              <a:gd name="connsiteX7" fmla="*/ 240163 w 3039331"/>
              <a:gd name="connsiteY7" fmla="*/ 8601 h 3636095"/>
              <a:gd name="connsiteX8" fmla="*/ 6086 w 3039331"/>
              <a:gd name="connsiteY8" fmla="*/ 1442467 h 3636095"/>
              <a:gd name="connsiteX0" fmla="*/ 6086 w 3039335"/>
              <a:gd name="connsiteY0" fmla="*/ 1442467 h 3636095"/>
              <a:gd name="connsiteX1" fmla="*/ 305455 w 3039335"/>
              <a:gd name="connsiteY1" fmla="*/ 3211159 h 3636095"/>
              <a:gd name="connsiteX2" fmla="*/ 1016416 w 3039335"/>
              <a:gd name="connsiteY2" fmla="*/ 3623216 h 3636095"/>
              <a:gd name="connsiteX3" fmla="*/ 1971646 w 3039335"/>
              <a:gd name="connsiteY3" fmla="*/ 3133878 h 3636095"/>
              <a:gd name="connsiteX4" fmla="*/ 2758999 w 3039335"/>
              <a:gd name="connsiteY4" fmla="*/ 2454732 h 3636095"/>
              <a:gd name="connsiteX5" fmla="*/ 3024790 w 3039335"/>
              <a:gd name="connsiteY5" fmla="*/ 2053961 h 3636095"/>
              <a:gd name="connsiteX6" fmla="*/ 3014093 w 3039335"/>
              <a:gd name="connsiteY6" fmla="*/ 0 h 3636095"/>
              <a:gd name="connsiteX7" fmla="*/ 63937 w 3039335"/>
              <a:gd name="connsiteY7" fmla="*/ 8601 h 3636095"/>
              <a:gd name="connsiteX8" fmla="*/ 6086 w 3039335"/>
              <a:gd name="connsiteY8" fmla="*/ 1442467 h 3636095"/>
              <a:gd name="connsiteX0" fmla="*/ 63937 w 3039331"/>
              <a:gd name="connsiteY0" fmla="*/ 8601 h 3636095"/>
              <a:gd name="connsiteX1" fmla="*/ 6086 w 3039331"/>
              <a:gd name="connsiteY1" fmla="*/ 1442467 h 3636095"/>
              <a:gd name="connsiteX2" fmla="*/ 305455 w 3039331"/>
              <a:gd name="connsiteY2" fmla="*/ 3211159 h 3636095"/>
              <a:gd name="connsiteX3" fmla="*/ 1016416 w 3039331"/>
              <a:gd name="connsiteY3" fmla="*/ 3623216 h 3636095"/>
              <a:gd name="connsiteX4" fmla="*/ 1971646 w 3039331"/>
              <a:gd name="connsiteY4" fmla="*/ 3133878 h 3636095"/>
              <a:gd name="connsiteX5" fmla="*/ 2758999 w 3039331"/>
              <a:gd name="connsiteY5" fmla="*/ 2454732 h 3636095"/>
              <a:gd name="connsiteX6" fmla="*/ 3024790 w 3039331"/>
              <a:gd name="connsiteY6" fmla="*/ 2053961 h 3636095"/>
              <a:gd name="connsiteX7" fmla="*/ 3014093 w 3039331"/>
              <a:gd name="connsiteY7" fmla="*/ 0 h 3636095"/>
              <a:gd name="connsiteX8" fmla="*/ 426458 w 3039331"/>
              <a:gd name="connsiteY8" fmla="*/ 521973 h 3636095"/>
              <a:gd name="connsiteX0" fmla="*/ 63937 w 3039335"/>
              <a:gd name="connsiteY0" fmla="*/ 8601 h 3636095"/>
              <a:gd name="connsiteX1" fmla="*/ 6086 w 3039335"/>
              <a:gd name="connsiteY1" fmla="*/ 1442467 h 3636095"/>
              <a:gd name="connsiteX2" fmla="*/ 305455 w 3039335"/>
              <a:gd name="connsiteY2" fmla="*/ 3211159 h 3636095"/>
              <a:gd name="connsiteX3" fmla="*/ 1016416 w 3039335"/>
              <a:gd name="connsiteY3" fmla="*/ 3623216 h 3636095"/>
              <a:gd name="connsiteX4" fmla="*/ 1971646 w 3039335"/>
              <a:gd name="connsiteY4" fmla="*/ 3133878 h 3636095"/>
              <a:gd name="connsiteX5" fmla="*/ 2758999 w 3039335"/>
              <a:gd name="connsiteY5" fmla="*/ 2454732 h 3636095"/>
              <a:gd name="connsiteX6" fmla="*/ 3024790 w 3039335"/>
              <a:gd name="connsiteY6" fmla="*/ 2053961 h 3636095"/>
              <a:gd name="connsiteX7" fmla="*/ 3014093 w 3039335"/>
              <a:gd name="connsiteY7" fmla="*/ 0 h 363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9335" h="3636095">
                <a:moveTo>
                  <a:pt x="63937" y="8601"/>
                </a:moveTo>
                <a:cubicBezTo>
                  <a:pt x="21974" y="595876"/>
                  <a:pt x="8477" y="982772"/>
                  <a:pt x="6086" y="1442467"/>
                </a:cubicBezTo>
                <a:cubicBezTo>
                  <a:pt x="9974" y="1914826"/>
                  <a:pt x="-1" y="2701137"/>
                  <a:pt x="305455" y="3211159"/>
                </a:cubicBezTo>
                <a:cubicBezTo>
                  <a:pt x="476641" y="3554811"/>
                  <a:pt x="738718" y="3636096"/>
                  <a:pt x="1016416" y="3623216"/>
                </a:cubicBezTo>
                <a:cubicBezTo>
                  <a:pt x="1294115" y="3610336"/>
                  <a:pt x="1681216" y="3328625"/>
                  <a:pt x="1971646" y="3133878"/>
                </a:cubicBezTo>
                <a:cubicBezTo>
                  <a:pt x="2262076" y="2939131"/>
                  <a:pt x="2583475" y="2634718"/>
                  <a:pt x="2758999" y="2454732"/>
                </a:cubicBezTo>
                <a:cubicBezTo>
                  <a:pt x="2934523" y="2274746"/>
                  <a:pt x="2951247" y="2242641"/>
                  <a:pt x="3024790" y="2053961"/>
                </a:cubicBezTo>
                <a:cubicBezTo>
                  <a:pt x="3039333" y="1492333"/>
                  <a:pt x="3014561" y="1143039"/>
                  <a:pt x="3014093" y="0"/>
                </a:cubicBezTo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19500000" scaled="0"/>
            <a:tileRect/>
          </a:gra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11" name="Freeform 10"/>
          <p:cNvSpPr/>
          <p:nvPr userDrawn="1"/>
        </p:nvSpPr>
        <p:spPr bwMode="auto">
          <a:xfrm>
            <a:off x="-6358" y="181595"/>
            <a:ext cx="2386166" cy="5213384"/>
          </a:xfrm>
          <a:custGeom>
            <a:avLst/>
            <a:gdLst>
              <a:gd name="connsiteX0" fmla="*/ 42333 w 2443042"/>
              <a:gd name="connsiteY0" fmla="*/ 4850581 h 5471925"/>
              <a:gd name="connsiteX1" fmla="*/ 304526 w 2443042"/>
              <a:gd name="connsiteY1" fmla="*/ 5170129 h 5471925"/>
              <a:gd name="connsiteX2" fmla="*/ 755172 w 2443042"/>
              <a:gd name="connsiteY2" fmla="*/ 5129162 h 5471925"/>
              <a:gd name="connsiteX3" fmla="*/ 1320526 w 2443042"/>
              <a:gd name="connsiteY3" fmla="*/ 4858775 h 5471925"/>
              <a:gd name="connsiteX4" fmla="*/ 1722010 w 2443042"/>
              <a:gd name="connsiteY4" fmla="*/ 4563807 h 5471925"/>
              <a:gd name="connsiteX5" fmla="*/ 2000591 w 2443042"/>
              <a:gd name="connsiteY5" fmla="*/ 4203291 h 5471925"/>
              <a:gd name="connsiteX6" fmla="*/ 2238204 w 2443042"/>
              <a:gd name="connsiteY6" fmla="*/ 3596968 h 5471925"/>
              <a:gd name="connsiteX7" fmla="*/ 2377494 w 2443042"/>
              <a:gd name="connsiteY7" fmla="*/ 2843162 h 5471925"/>
              <a:gd name="connsiteX8" fmla="*/ 2434849 w 2443042"/>
              <a:gd name="connsiteY8" fmla="*/ 2056581 h 5471925"/>
              <a:gd name="connsiteX9" fmla="*/ 2426655 w 2443042"/>
              <a:gd name="connsiteY9" fmla="*/ 1360129 h 5471925"/>
              <a:gd name="connsiteX10" fmla="*/ 2377494 w 2443042"/>
              <a:gd name="connsiteY10" fmla="*/ 770194 h 5471925"/>
              <a:gd name="connsiteX11" fmla="*/ 2246397 w 2443042"/>
              <a:gd name="connsiteY11" fmla="*/ 360517 h 5471925"/>
              <a:gd name="connsiteX12" fmla="*/ 2057946 w 2443042"/>
              <a:gd name="connsiteY12" fmla="*/ 106517 h 5471925"/>
              <a:gd name="connsiteX13" fmla="*/ 1746591 w 2443042"/>
              <a:gd name="connsiteY13" fmla="*/ 8194 h 5471925"/>
              <a:gd name="connsiteX14" fmla="*/ 1394268 w 2443042"/>
              <a:gd name="connsiteY14" fmla="*/ 57355 h 5471925"/>
              <a:gd name="connsiteX15" fmla="*/ 886268 w 2443042"/>
              <a:gd name="connsiteY15" fmla="*/ 180258 h 5471925"/>
              <a:gd name="connsiteX16" fmla="*/ 542139 w 2443042"/>
              <a:gd name="connsiteY16" fmla="*/ 393291 h 5471925"/>
              <a:gd name="connsiteX17" fmla="*/ 255365 w 2443042"/>
              <a:gd name="connsiteY17" fmla="*/ 762000 h 5471925"/>
              <a:gd name="connsiteX18" fmla="*/ 50526 w 2443042"/>
              <a:gd name="connsiteY18" fmla="*/ 1442065 h 5471925"/>
              <a:gd name="connsiteX19" fmla="*/ 42333 w 2443042"/>
              <a:gd name="connsiteY19" fmla="*/ 4850581 h 5471925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42333 w 2443042"/>
              <a:gd name="connsiteY0" fmla="*/ 4850581 h 5216559"/>
              <a:gd name="connsiteX1" fmla="*/ 304526 w 2443042"/>
              <a:gd name="connsiteY1" fmla="*/ 5170129 h 5216559"/>
              <a:gd name="connsiteX2" fmla="*/ 755172 w 2443042"/>
              <a:gd name="connsiteY2" fmla="*/ 5129162 h 5216559"/>
              <a:gd name="connsiteX3" fmla="*/ 1320526 w 2443042"/>
              <a:gd name="connsiteY3" fmla="*/ 4858775 h 5216559"/>
              <a:gd name="connsiteX4" fmla="*/ 1722010 w 2443042"/>
              <a:gd name="connsiteY4" fmla="*/ 4563807 h 5216559"/>
              <a:gd name="connsiteX5" fmla="*/ 2000591 w 2443042"/>
              <a:gd name="connsiteY5" fmla="*/ 4203291 h 5216559"/>
              <a:gd name="connsiteX6" fmla="*/ 2238204 w 2443042"/>
              <a:gd name="connsiteY6" fmla="*/ 3596968 h 5216559"/>
              <a:gd name="connsiteX7" fmla="*/ 2377494 w 2443042"/>
              <a:gd name="connsiteY7" fmla="*/ 2843162 h 5216559"/>
              <a:gd name="connsiteX8" fmla="*/ 2434849 w 2443042"/>
              <a:gd name="connsiteY8" fmla="*/ 2056581 h 5216559"/>
              <a:gd name="connsiteX9" fmla="*/ 2426655 w 2443042"/>
              <a:gd name="connsiteY9" fmla="*/ 1360129 h 5216559"/>
              <a:gd name="connsiteX10" fmla="*/ 2377494 w 2443042"/>
              <a:gd name="connsiteY10" fmla="*/ 770194 h 5216559"/>
              <a:gd name="connsiteX11" fmla="*/ 2246397 w 2443042"/>
              <a:gd name="connsiteY11" fmla="*/ 360517 h 5216559"/>
              <a:gd name="connsiteX12" fmla="*/ 2057946 w 2443042"/>
              <a:gd name="connsiteY12" fmla="*/ 106517 h 5216559"/>
              <a:gd name="connsiteX13" fmla="*/ 1746591 w 2443042"/>
              <a:gd name="connsiteY13" fmla="*/ 8194 h 5216559"/>
              <a:gd name="connsiteX14" fmla="*/ 1394268 w 2443042"/>
              <a:gd name="connsiteY14" fmla="*/ 57355 h 5216559"/>
              <a:gd name="connsiteX15" fmla="*/ 886268 w 2443042"/>
              <a:gd name="connsiteY15" fmla="*/ 180258 h 5216559"/>
              <a:gd name="connsiteX16" fmla="*/ 542139 w 2443042"/>
              <a:gd name="connsiteY16" fmla="*/ 393291 h 5216559"/>
              <a:gd name="connsiteX17" fmla="*/ 255365 w 2443042"/>
              <a:gd name="connsiteY17" fmla="*/ 762000 h 5216559"/>
              <a:gd name="connsiteX18" fmla="*/ 50526 w 2443042"/>
              <a:gd name="connsiteY18" fmla="*/ 1442065 h 5216559"/>
              <a:gd name="connsiteX19" fmla="*/ 42333 w 2443042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27312 w 2428021"/>
              <a:gd name="connsiteY0" fmla="*/ 4850581 h 5216559"/>
              <a:gd name="connsiteX1" fmla="*/ 289505 w 2428021"/>
              <a:gd name="connsiteY1" fmla="*/ 5170129 h 5216559"/>
              <a:gd name="connsiteX2" fmla="*/ 740151 w 2428021"/>
              <a:gd name="connsiteY2" fmla="*/ 5129162 h 5216559"/>
              <a:gd name="connsiteX3" fmla="*/ 1305505 w 2428021"/>
              <a:gd name="connsiteY3" fmla="*/ 4858775 h 5216559"/>
              <a:gd name="connsiteX4" fmla="*/ 1706989 w 2428021"/>
              <a:gd name="connsiteY4" fmla="*/ 4563807 h 5216559"/>
              <a:gd name="connsiteX5" fmla="*/ 1985570 w 2428021"/>
              <a:gd name="connsiteY5" fmla="*/ 4203291 h 5216559"/>
              <a:gd name="connsiteX6" fmla="*/ 2223183 w 2428021"/>
              <a:gd name="connsiteY6" fmla="*/ 3596968 h 5216559"/>
              <a:gd name="connsiteX7" fmla="*/ 2362473 w 2428021"/>
              <a:gd name="connsiteY7" fmla="*/ 2843162 h 5216559"/>
              <a:gd name="connsiteX8" fmla="*/ 2419828 w 2428021"/>
              <a:gd name="connsiteY8" fmla="*/ 2056581 h 5216559"/>
              <a:gd name="connsiteX9" fmla="*/ 2411634 w 2428021"/>
              <a:gd name="connsiteY9" fmla="*/ 1360129 h 5216559"/>
              <a:gd name="connsiteX10" fmla="*/ 2362473 w 2428021"/>
              <a:gd name="connsiteY10" fmla="*/ 770194 h 5216559"/>
              <a:gd name="connsiteX11" fmla="*/ 2231376 w 2428021"/>
              <a:gd name="connsiteY11" fmla="*/ 360517 h 5216559"/>
              <a:gd name="connsiteX12" fmla="*/ 2042925 w 2428021"/>
              <a:gd name="connsiteY12" fmla="*/ 106517 h 5216559"/>
              <a:gd name="connsiteX13" fmla="*/ 1731570 w 2428021"/>
              <a:gd name="connsiteY13" fmla="*/ 8194 h 5216559"/>
              <a:gd name="connsiteX14" fmla="*/ 1379247 w 2428021"/>
              <a:gd name="connsiteY14" fmla="*/ 57355 h 5216559"/>
              <a:gd name="connsiteX15" fmla="*/ 871247 w 2428021"/>
              <a:gd name="connsiteY15" fmla="*/ 180258 h 5216559"/>
              <a:gd name="connsiteX16" fmla="*/ 527118 w 2428021"/>
              <a:gd name="connsiteY16" fmla="*/ 393291 h 5216559"/>
              <a:gd name="connsiteX17" fmla="*/ 240344 w 2428021"/>
              <a:gd name="connsiteY17" fmla="*/ 762000 h 5216559"/>
              <a:gd name="connsiteX18" fmla="*/ 35505 w 2428021"/>
              <a:gd name="connsiteY18" fmla="*/ 1442065 h 5216559"/>
              <a:gd name="connsiteX19" fmla="*/ 27312 w 2428021"/>
              <a:gd name="connsiteY19" fmla="*/ 4850581 h 5216559"/>
              <a:gd name="connsiteX0" fmla="*/ 35506 w 2436215"/>
              <a:gd name="connsiteY0" fmla="*/ 4850581 h 5216559"/>
              <a:gd name="connsiteX1" fmla="*/ 297699 w 2436215"/>
              <a:gd name="connsiteY1" fmla="*/ 5170129 h 5216559"/>
              <a:gd name="connsiteX2" fmla="*/ 748345 w 2436215"/>
              <a:gd name="connsiteY2" fmla="*/ 5129162 h 5216559"/>
              <a:gd name="connsiteX3" fmla="*/ 1313699 w 2436215"/>
              <a:gd name="connsiteY3" fmla="*/ 4858775 h 5216559"/>
              <a:gd name="connsiteX4" fmla="*/ 1715183 w 2436215"/>
              <a:gd name="connsiteY4" fmla="*/ 4563807 h 5216559"/>
              <a:gd name="connsiteX5" fmla="*/ 1993764 w 2436215"/>
              <a:gd name="connsiteY5" fmla="*/ 4203291 h 5216559"/>
              <a:gd name="connsiteX6" fmla="*/ 2231377 w 2436215"/>
              <a:gd name="connsiteY6" fmla="*/ 3596968 h 5216559"/>
              <a:gd name="connsiteX7" fmla="*/ 2370667 w 2436215"/>
              <a:gd name="connsiteY7" fmla="*/ 2843162 h 5216559"/>
              <a:gd name="connsiteX8" fmla="*/ 2428022 w 2436215"/>
              <a:gd name="connsiteY8" fmla="*/ 2056581 h 5216559"/>
              <a:gd name="connsiteX9" fmla="*/ 2419828 w 2436215"/>
              <a:gd name="connsiteY9" fmla="*/ 1360129 h 5216559"/>
              <a:gd name="connsiteX10" fmla="*/ 2370667 w 2436215"/>
              <a:gd name="connsiteY10" fmla="*/ 770194 h 5216559"/>
              <a:gd name="connsiteX11" fmla="*/ 2239570 w 2436215"/>
              <a:gd name="connsiteY11" fmla="*/ 360517 h 5216559"/>
              <a:gd name="connsiteX12" fmla="*/ 2051119 w 2436215"/>
              <a:gd name="connsiteY12" fmla="*/ 106517 h 5216559"/>
              <a:gd name="connsiteX13" fmla="*/ 1739764 w 2436215"/>
              <a:gd name="connsiteY13" fmla="*/ 8194 h 5216559"/>
              <a:gd name="connsiteX14" fmla="*/ 1387441 w 2436215"/>
              <a:gd name="connsiteY14" fmla="*/ 57355 h 5216559"/>
              <a:gd name="connsiteX15" fmla="*/ 879441 w 2436215"/>
              <a:gd name="connsiteY15" fmla="*/ 180258 h 5216559"/>
              <a:gd name="connsiteX16" fmla="*/ 535312 w 2436215"/>
              <a:gd name="connsiteY16" fmla="*/ 393291 h 5216559"/>
              <a:gd name="connsiteX17" fmla="*/ 248538 w 2436215"/>
              <a:gd name="connsiteY17" fmla="*/ 762000 h 5216559"/>
              <a:gd name="connsiteX18" fmla="*/ 43699 w 2436215"/>
              <a:gd name="connsiteY18" fmla="*/ 1442065 h 5216559"/>
              <a:gd name="connsiteX19" fmla="*/ 35506 w 2436215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850581 h 5216559"/>
              <a:gd name="connsiteX1" fmla="*/ 279945 w 2418461"/>
              <a:gd name="connsiteY1" fmla="*/ 5170129 h 5216559"/>
              <a:gd name="connsiteX2" fmla="*/ 730591 w 2418461"/>
              <a:gd name="connsiteY2" fmla="*/ 5129162 h 5216559"/>
              <a:gd name="connsiteX3" fmla="*/ 1295945 w 2418461"/>
              <a:gd name="connsiteY3" fmla="*/ 4858775 h 5216559"/>
              <a:gd name="connsiteX4" fmla="*/ 1697429 w 2418461"/>
              <a:gd name="connsiteY4" fmla="*/ 4563807 h 5216559"/>
              <a:gd name="connsiteX5" fmla="*/ 1976010 w 2418461"/>
              <a:gd name="connsiteY5" fmla="*/ 4203291 h 5216559"/>
              <a:gd name="connsiteX6" fmla="*/ 2213623 w 2418461"/>
              <a:gd name="connsiteY6" fmla="*/ 3596968 h 5216559"/>
              <a:gd name="connsiteX7" fmla="*/ 2352913 w 2418461"/>
              <a:gd name="connsiteY7" fmla="*/ 2843162 h 5216559"/>
              <a:gd name="connsiteX8" fmla="*/ 2410268 w 2418461"/>
              <a:gd name="connsiteY8" fmla="*/ 2056581 h 5216559"/>
              <a:gd name="connsiteX9" fmla="*/ 2402074 w 2418461"/>
              <a:gd name="connsiteY9" fmla="*/ 1360129 h 5216559"/>
              <a:gd name="connsiteX10" fmla="*/ 2352913 w 2418461"/>
              <a:gd name="connsiteY10" fmla="*/ 770194 h 5216559"/>
              <a:gd name="connsiteX11" fmla="*/ 2221816 w 2418461"/>
              <a:gd name="connsiteY11" fmla="*/ 360517 h 5216559"/>
              <a:gd name="connsiteX12" fmla="*/ 2033365 w 2418461"/>
              <a:gd name="connsiteY12" fmla="*/ 106517 h 5216559"/>
              <a:gd name="connsiteX13" fmla="*/ 1722010 w 2418461"/>
              <a:gd name="connsiteY13" fmla="*/ 8194 h 5216559"/>
              <a:gd name="connsiteX14" fmla="*/ 1369687 w 2418461"/>
              <a:gd name="connsiteY14" fmla="*/ 57355 h 5216559"/>
              <a:gd name="connsiteX15" fmla="*/ 861687 w 2418461"/>
              <a:gd name="connsiteY15" fmla="*/ 180258 h 5216559"/>
              <a:gd name="connsiteX16" fmla="*/ 517558 w 2418461"/>
              <a:gd name="connsiteY16" fmla="*/ 393291 h 5216559"/>
              <a:gd name="connsiteX17" fmla="*/ 230784 w 2418461"/>
              <a:gd name="connsiteY17" fmla="*/ 762000 h 5216559"/>
              <a:gd name="connsiteX18" fmla="*/ 25945 w 2418461"/>
              <a:gd name="connsiteY18" fmla="*/ 1442065 h 5216559"/>
              <a:gd name="connsiteX19" fmla="*/ 17752 w 2418461"/>
              <a:gd name="connsiteY19" fmla="*/ 4850581 h 5216559"/>
              <a:gd name="connsiteX0" fmla="*/ 17752 w 2418461"/>
              <a:gd name="connsiteY0" fmla="*/ 4942553 h 5308531"/>
              <a:gd name="connsiteX1" fmla="*/ 279945 w 2418461"/>
              <a:gd name="connsiteY1" fmla="*/ 5262101 h 5308531"/>
              <a:gd name="connsiteX2" fmla="*/ 730591 w 2418461"/>
              <a:gd name="connsiteY2" fmla="*/ 5221134 h 5308531"/>
              <a:gd name="connsiteX3" fmla="*/ 1295945 w 2418461"/>
              <a:gd name="connsiteY3" fmla="*/ 4950747 h 5308531"/>
              <a:gd name="connsiteX4" fmla="*/ 1697429 w 2418461"/>
              <a:gd name="connsiteY4" fmla="*/ 4655779 h 5308531"/>
              <a:gd name="connsiteX5" fmla="*/ 1976010 w 2418461"/>
              <a:gd name="connsiteY5" fmla="*/ 4295263 h 5308531"/>
              <a:gd name="connsiteX6" fmla="*/ 2213623 w 2418461"/>
              <a:gd name="connsiteY6" fmla="*/ 3688940 h 5308531"/>
              <a:gd name="connsiteX7" fmla="*/ 2352913 w 2418461"/>
              <a:gd name="connsiteY7" fmla="*/ 2935134 h 5308531"/>
              <a:gd name="connsiteX8" fmla="*/ 2410268 w 2418461"/>
              <a:gd name="connsiteY8" fmla="*/ 2148553 h 5308531"/>
              <a:gd name="connsiteX9" fmla="*/ 2402074 w 2418461"/>
              <a:gd name="connsiteY9" fmla="*/ 1452101 h 5308531"/>
              <a:gd name="connsiteX10" fmla="*/ 2352913 w 2418461"/>
              <a:gd name="connsiteY10" fmla="*/ 862166 h 5308531"/>
              <a:gd name="connsiteX11" fmla="*/ 2221816 w 2418461"/>
              <a:gd name="connsiteY11" fmla="*/ 452489 h 5308531"/>
              <a:gd name="connsiteX12" fmla="*/ 2033365 w 2418461"/>
              <a:gd name="connsiteY12" fmla="*/ 198489 h 5308531"/>
              <a:gd name="connsiteX13" fmla="*/ 1722010 w 2418461"/>
              <a:gd name="connsiteY13" fmla="*/ 100166 h 5308531"/>
              <a:gd name="connsiteX14" fmla="*/ 1191887 w 2418461"/>
              <a:gd name="connsiteY14" fmla="*/ 28677 h 5308531"/>
              <a:gd name="connsiteX15" fmla="*/ 861687 w 2418461"/>
              <a:gd name="connsiteY15" fmla="*/ 272230 h 5308531"/>
              <a:gd name="connsiteX16" fmla="*/ 517558 w 2418461"/>
              <a:gd name="connsiteY16" fmla="*/ 485263 h 5308531"/>
              <a:gd name="connsiteX17" fmla="*/ 230784 w 2418461"/>
              <a:gd name="connsiteY17" fmla="*/ 853972 h 5308531"/>
              <a:gd name="connsiteX18" fmla="*/ 25945 w 2418461"/>
              <a:gd name="connsiteY18" fmla="*/ 1534037 h 5308531"/>
              <a:gd name="connsiteX19" fmla="*/ 17752 w 2418461"/>
              <a:gd name="connsiteY19" fmla="*/ 4942553 h 5308531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17752 w 2418461"/>
              <a:gd name="connsiteY0" fmla="*/ 4852168 h 5218146"/>
              <a:gd name="connsiteX1" fmla="*/ 279945 w 2418461"/>
              <a:gd name="connsiteY1" fmla="*/ 5171716 h 5218146"/>
              <a:gd name="connsiteX2" fmla="*/ 730591 w 2418461"/>
              <a:gd name="connsiteY2" fmla="*/ 5130749 h 5218146"/>
              <a:gd name="connsiteX3" fmla="*/ 1295945 w 2418461"/>
              <a:gd name="connsiteY3" fmla="*/ 4860362 h 5218146"/>
              <a:gd name="connsiteX4" fmla="*/ 1697429 w 2418461"/>
              <a:gd name="connsiteY4" fmla="*/ 4565394 h 5218146"/>
              <a:gd name="connsiteX5" fmla="*/ 1976010 w 2418461"/>
              <a:gd name="connsiteY5" fmla="*/ 4204878 h 5218146"/>
              <a:gd name="connsiteX6" fmla="*/ 2213623 w 2418461"/>
              <a:gd name="connsiteY6" fmla="*/ 3598555 h 5218146"/>
              <a:gd name="connsiteX7" fmla="*/ 2352913 w 2418461"/>
              <a:gd name="connsiteY7" fmla="*/ 2844749 h 5218146"/>
              <a:gd name="connsiteX8" fmla="*/ 2410268 w 2418461"/>
              <a:gd name="connsiteY8" fmla="*/ 2058168 h 5218146"/>
              <a:gd name="connsiteX9" fmla="*/ 2402074 w 2418461"/>
              <a:gd name="connsiteY9" fmla="*/ 1361716 h 5218146"/>
              <a:gd name="connsiteX10" fmla="*/ 2352913 w 2418461"/>
              <a:gd name="connsiteY10" fmla="*/ 771781 h 5218146"/>
              <a:gd name="connsiteX11" fmla="*/ 2221816 w 2418461"/>
              <a:gd name="connsiteY11" fmla="*/ 362104 h 5218146"/>
              <a:gd name="connsiteX12" fmla="*/ 2033365 w 2418461"/>
              <a:gd name="connsiteY12" fmla="*/ 108104 h 5218146"/>
              <a:gd name="connsiteX13" fmla="*/ 1722010 w 2418461"/>
              <a:gd name="connsiteY13" fmla="*/ 9781 h 5218146"/>
              <a:gd name="connsiteX14" fmla="*/ 1280787 w 2418461"/>
              <a:gd name="connsiteY14" fmla="*/ 49417 h 5218146"/>
              <a:gd name="connsiteX15" fmla="*/ 861687 w 2418461"/>
              <a:gd name="connsiteY15" fmla="*/ 181845 h 5218146"/>
              <a:gd name="connsiteX16" fmla="*/ 517558 w 2418461"/>
              <a:gd name="connsiteY16" fmla="*/ 394878 h 5218146"/>
              <a:gd name="connsiteX17" fmla="*/ 230784 w 2418461"/>
              <a:gd name="connsiteY17" fmla="*/ 763587 h 5218146"/>
              <a:gd name="connsiteX18" fmla="*/ 25945 w 2418461"/>
              <a:gd name="connsiteY18" fmla="*/ 1443652 h 5218146"/>
              <a:gd name="connsiteX19" fmla="*/ 17752 w 2418461"/>
              <a:gd name="connsiteY19" fmla="*/ 4852168 h 5218146"/>
              <a:gd name="connsiteX0" fmla="*/ 40832 w 2403441"/>
              <a:gd name="connsiteY0" fmla="*/ 4782318 h 5229788"/>
              <a:gd name="connsiteX1" fmla="*/ 264925 w 2403441"/>
              <a:gd name="connsiteY1" fmla="*/ 5171716 h 5229788"/>
              <a:gd name="connsiteX2" fmla="*/ 715571 w 2403441"/>
              <a:gd name="connsiteY2" fmla="*/ 5130749 h 5229788"/>
              <a:gd name="connsiteX3" fmla="*/ 1280925 w 2403441"/>
              <a:gd name="connsiteY3" fmla="*/ 4860362 h 5229788"/>
              <a:gd name="connsiteX4" fmla="*/ 1682409 w 2403441"/>
              <a:gd name="connsiteY4" fmla="*/ 4565394 h 5229788"/>
              <a:gd name="connsiteX5" fmla="*/ 1960990 w 2403441"/>
              <a:gd name="connsiteY5" fmla="*/ 4204878 h 5229788"/>
              <a:gd name="connsiteX6" fmla="*/ 2198603 w 2403441"/>
              <a:gd name="connsiteY6" fmla="*/ 3598555 h 5229788"/>
              <a:gd name="connsiteX7" fmla="*/ 2337893 w 2403441"/>
              <a:gd name="connsiteY7" fmla="*/ 2844749 h 5229788"/>
              <a:gd name="connsiteX8" fmla="*/ 2395248 w 2403441"/>
              <a:gd name="connsiteY8" fmla="*/ 2058168 h 5229788"/>
              <a:gd name="connsiteX9" fmla="*/ 2387054 w 2403441"/>
              <a:gd name="connsiteY9" fmla="*/ 1361716 h 5229788"/>
              <a:gd name="connsiteX10" fmla="*/ 2337893 w 2403441"/>
              <a:gd name="connsiteY10" fmla="*/ 771781 h 5229788"/>
              <a:gd name="connsiteX11" fmla="*/ 2206796 w 2403441"/>
              <a:gd name="connsiteY11" fmla="*/ 362104 h 5229788"/>
              <a:gd name="connsiteX12" fmla="*/ 2018345 w 2403441"/>
              <a:gd name="connsiteY12" fmla="*/ 108104 h 5229788"/>
              <a:gd name="connsiteX13" fmla="*/ 1706990 w 2403441"/>
              <a:gd name="connsiteY13" fmla="*/ 9781 h 5229788"/>
              <a:gd name="connsiteX14" fmla="*/ 1265767 w 2403441"/>
              <a:gd name="connsiteY14" fmla="*/ 49417 h 5229788"/>
              <a:gd name="connsiteX15" fmla="*/ 846667 w 2403441"/>
              <a:gd name="connsiteY15" fmla="*/ 181845 h 5229788"/>
              <a:gd name="connsiteX16" fmla="*/ 502538 w 2403441"/>
              <a:gd name="connsiteY16" fmla="*/ 394878 h 5229788"/>
              <a:gd name="connsiteX17" fmla="*/ 215764 w 2403441"/>
              <a:gd name="connsiteY17" fmla="*/ 763587 h 5229788"/>
              <a:gd name="connsiteX18" fmla="*/ 10925 w 2403441"/>
              <a:gd name="connsiteY18" fmla="*/ 1443652 h 5229788"/>
              <a:gd name="connsiteX19" fmla="*/ 40832 w 2403441"/>
              <a:gd name="connsiteY19" fmla="*/ 4782318 h 5229788"/>
              <a:gd name="connsiteX0" fmla="*/ 4083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40832 w 2403441"/>
              <a:gd name="connsiteY19" fmla="*/ 4899793 h 5210209"/>
              <a:gd name="connsiteX0" fmla="*/ 17752 w 2462911"/>
              <a:gd name="connsiteY0" fmla="*/ 4899793 h 5210209"/>
              <a:gd name="connsiteX1" fmla="*/ 324395 w 2462911"/>
              <a:gd name="connsiteY1" fmla="*/ 5171716 h 5210209"/>
              <a:gd name="connsiteX2" fmla="*/ 775041 w 2462911"/>
              <a:gd name="connsiteY2" fmla="*/ 5130749 h 5210209"/>
              <a:gd name="connsiteX3" fmla="*/ 1340395 w 2462911"/>
              <a:gd name="connsiteY3" fmla="*/ 4860362 h 5210209"/>
              <a:gd name="connsiteX4" fmla="*/ 1741879 w 2462911"/>
              <a:gd name="connsiteY4" fmla="*/ 4565394 h 5210209"/>
              <a:gd name="connsiteX5" fmla="*/ 2020460 w 2462911"/>
              <a:gd name="connsiteY5" fmla="*/ 4204878 h 5210209"/>
              <a:gd name="connsiteX6" fmla="*/ 2258073 w 2462911"/>
              <a:gd name="connsiteY6" fmla="*/ 3598555 h 5210209"/>
              <a:gd name="connsiteX7" fmla="*/ 2397363 w 2462911"/>
              <a:gd name="connsiteY7" fmla="*/ 2844749 h 5210209"/>
              <a:gd name="connsiteX8" fmla="*/ 2454718 w 2462911"/>
              <a:gd name="connsiteY8" fmla="*/ 2058168 h 5210209"/>
              <a:gd name="connsiteX9" fmla="*/ 2446524 w 2462911"/>
              <a:gd name="connsiteY9" fmla="*/ 1361716 h 5210209"/>
              <a:gd name="connsiteX10" fmla="*/ 2397363 w 2462911"/>
              <a:gd name="connsiteY10" fmla="*/ 771781 h 5210209"/>
              <a:gd name="connsiteX11" fmla="*/ 2266266 w 2462911"/>
              <a:gd name="connsiteY11" fmla="*/ 362104 h 5210209"/>
              <a:gd name="connsiteX12" fmla="*/ 2077815 w 2462911"/>
              <a:gd name="connsiteY12" fmla="*/ 108104 h 5210209"/>
              <a:gd name="connsiteX13" fmla="*/ 1766460 w 2462911"/>
              <a:gd name="connsiteY13" fmla="*/ 9781 h 5210209"/>
              <a:gd name="connsiteX14" fmla="*/ 1325237 w 2462911"/>
              <a:gd name="connsiteY14" fmla="*/ 49417 h 5210209"/>
              <a:gd name="connsiteX15" fmla="*/ 906137 w 2462911"/>
              <a:gd name="connsiteY15" fmla="*/ 181845 h 5210209"/>
              <a:gd name="connsiteX16" fmla="*/ 562008 w 2462911"/>
              <a:gd name="connsiteY16" fmla="*/ 394878 h 5210209"/>
              <a:gd name="connsiteX17" fmla="*/ 275234 w 2462911"/>
              <a:gd name="connsiteY17" fmla="*/ 763587 h 5210209"/>
              <a:gd name="connsiteX18" fmla="*/ 70395 w 2462911"/>
              <a:gd name="connsiteY18" fmla="*/ 1443652 h 5210209"/>
              <a:gd name="connsiteX19" fmla="*/ 17752 w 2462911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17752 w 2421636"/>
              <a:gd name="connsiteY0" fmla="*/ 4899793 h 5210209"/>
              <a:gd name="connsiteX1" fmla="*/ 283120 w 2421636"/>
              <a:gd name="connsiteY1" fmla="*/ 5171716 h 5210209"/>
              <a:gd name="connsiteX2" fmla="*/ 733766 w 2421636"/>
              <a:gd name="connsiteY2" fmla="*/ 5130749 h 5210209"/>
              <a:gd name="connsiteX3" fmla="*/ 1299120 w 2421636"/>
              <a:gd name="connsiteY3" fmla="*/ 4860362 h 5210209"/>
              <a:gd name="connsiteX4" fmla="*/ 1700604 w 2421636"/>
              <a:gd name="connsiteY4" fmla="*/ 4565394 h 5210209"/>
              <a:gd name="connsiteX5" fmla="*/ 1979185 w 2421636"/>
              <a:gd name="connsiteY5" fmla="*/ 4204878 h 5210209"/>
              <a:gd name="connsiteX6" fmla="*/ 2216798 w 2421636"/>
              <a:gd name="connsiteY6" fmla="*/ 3598555 h 5210209"/>
              <a:gd name="connsiteX7" fmla="*/ 2356088 w 2421636"/>
              <a:gd name="connsiteY7" fmla="*/ 2844749 h 5210209"/>
              <a:gd name="connsiteX8" fmla="*/ 2413443 w 2421636"/>
              <a:gd name="connsiteY8" fmla="*/ 2058168 h 5210209"/>
              <a:gd name="connsiteX9" fmla="*/ 2405249 w 2421636"/>
              <a:gd name="connsiteY9" fmla="*/ 1361716 h 5210209"/>
              <a:gd name="connsiteX10" fmla="*/ 2356088 w 2421636"/>
              <a:gd name="connsiteY10" fmla="*/ 771781 h 5210209"/>
              <a:gd name="connsiteX11" fmla="*/ 2224991 w 2421636"/>
              <a:gd name="connsiteY11" fmla="*/ 362104 h 5210209"/>
              <a:gd name="connsiteX12" fmla="*/ 2036540 w 2421636"/>
              <a:gd name="connsiteY12" fmla="*/ 108104 h 5210209"/>
              <a:gd name="connsiteX13" fmla="*/ 1725185 w 2421636"/>
              <a:gd name="connsiteY13" fmla="*/ 9781 h 5210209"/>
              <a:gd name="connsiteX14" fmla="*/ 1283962 w 2421636"/>
              <a:gd name="connsiteY14" fmla="*/ 49417 h 5210209"/>
              <a:gd name="connsiteX15" fmla="*/ 864862 w 2421636"/>
              <a:gd name="connsiteY15" fmla="*/ 181845 h 5210209"/>
              <a:gd name="connsiteX16" fmla="*/ 520733 w 2421636"/>
              <a:gd name="connsiteY16" fmla="*/ 394878 h 5210209"/>
              <a:gd name="connsiteX17" fmla="*/ 233959 w 2421636"/>
              <a:gd name="connsiteY17" fmla="*/ 763587 h 5210209"/>
              <a:gd name="connsiteX18" fmla="*/ 29120 w 2421636"/>
              <a:gd name="connsiteY18" fmla="*/ 1443652 h 5210209"/>
              <a:gd name="connsiteX19" fmla="*/ 17752 w 2421636"/>
              <a:gd name="connsiteY19" fmla="*/ 4899793 h 5210209"/>
              <a:gd name="connsiteX0" fmla="*/ 72582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72582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0209"/>
              <a:gd name="connsiteX1" fmla="*/ 264925 w 2403441"/>
              <a:gd name="connsiteY1" fmla="*/ 5171716 h 5210209"/>
              <a:gd name="connsiteX2" fmla="*/ 715571 w 2403441"/>
              <a:gd name="connsiteY2" fmla="*/ 5130749 h 5210209"/>
              <a:gd name="connsiteX3" fmla="*/ 1280925 w 2403441"/>
              <a:gd name="connsiteY3" fmla="*/ 4860362 h 5210209"/>
              <a:gd name="connsiteX4" fmla="*/ 1682409 w 2403441"/>
              <a:gd name="connsiteY4" fmla="*/ 4565394 h 5210209"/>
              <a:gd name="connsiteX5" fmla="*/ 1960990 w 2403441"/>
              <a:gd name="connsiteY5" fmla="*/ 4204878 h 5210209"/>
              <a:gd name="connsiteX6" fmla="*/ 2198603 w 2403441"/>
              <a:gd name="connsiteY6" fmla="*/ 3598555 h 5210209"/>
              <a:gd name="connsiteX7" fmla="*/ 2337893 w 2403441"/>
              <a:gd name="connsiteY7" fmla="*/ 2844749 h 5210209"/>
              <a:gd name="connsiteX8" fmla="*/ 2395248 w 2403441"/>
              <a:gd name="connsiteY8" fmla="*/ 2058168 h 5210209"/>
              <a:gd name="connsiteX9" fmla="*/ 2387054 w 2403441"/>
              <a:gd name="connsiteY9" fmla="*/ 1361716 h 5210209"/>
              <a:gd name="connsiteX10" fmla="*/ 2337893 w 2403441"/>
              <a:gd name="connsiteY10" fmla="*/ 771781 h 5210209"/>
              <a:gd name="connsiteX11" fmla="*/ 2206796 w 2403441"/>
              <a:gd name="connsiteY11" fmla="*/ 362104 h 5210209"/>
              <a:gd name="connsiteX12" fmla="*/ 2018345 w 2403441"/>
              <a:gd name="connsiteY12" fmla="*/ 108104 h 5210209"/>
              <a:gd name="connsiteX13" fmla="*/ 1706990 w 2403441"/>
              <a:gd name="connsiteY13" fmla="*/ 9781 h 5210209"/>
              <a:gd name="connsiteX14" fmla="*/ 1265767 w 2403441"/>
              <a:gd name="connsiteY14" fmla="*/ 49417 h 5210209"/>
              <a:gd name="connsiteX15" fmla="*/ 846667 w 2403441"/>
              <a:gd name="connsiteY15" fmla="*/ 181845 h 5210209"/>
              <a:gd name="connsiteX16" fmla="*/ 502538 w 2403441"/>
              <a:gd name="connsiteY16" fmla="*/ 394878 h 5210209"/>
              <a:gd name="connsiteX17" fmla="*/ 215764 w 2403441"/>
              <a:gd name="connsiteY17" fmla="*/ 763587 h 5210209"/>
              <a:gd name="connsiteX18" fmla="*/ 10925 w 2403441"/>
              <a:gd name="connsiteY18" fmla="*/ 1443652 h 5210209"/>
              <a:gd name="connsiteX19" fmla="*/ 18607 w 2403441"/>
              <a:gd name="connsiteY19" fmla="*/ 4899793 h 5210209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3074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8607 w 2403441"/>
              <a:gd name="connsiteY0" fmla="*/ 4899793 h 5239791"/>
              <a:gd name="connsiteX1" fmla="*/ 264925 w 2403441"/>
              <a:gd name="connsiteY1" fmla="*/ 5171716 h 5239791"/>
              <a:gd name="connsiteX2" fmla="*/ 760021 w 2403441"/>
              <a:gd name="connsiteY2" fmla="*/ 5187899 h 5239791"/>
              <a:gd name="connsiteX3" fmla="*/ 1280925 w 2403441"/>
              <a:gd name="connsiteY3" fmla="*/ 4860362 h 5239791"/>
              <a:gd name="connsiteX4" fmla="*/ 1682409 w 2403441"/>
              <a:gd name="connsiteY4" fmla="*/ 4565394 h 5239791"/>
              <a:gd name="connsiteX5" fmla="*/ 1960990 w 2403441"/>
              <a:gd name="connsiteY5" fmla="*/ 4204878 h 5239791"/>
              <a:gd name="connsiteX6" fmla="*/ 2198603 w 2403441"/>
              <a:gd name="connsiteY6" fmla="*/ 3598555 h 5239791"/>
              <a:gd name="connsiteX7" fmla="*/ 2337893 w 2403441"/>
              <a:gd name="connsiteY7" fmla="*/ 2844749 h 5239791"/>
              <a:gd name="connsiteX8" fmla="*/ 2395248 w 2403441"/>
              <a:gd name="connsiteY8" fmla="*/ 2058168 h 5239791"/>
              <a:gd name="connsiteX9" fmla="*/ 2387054 w 2403441"/>
              <a:gd name="connsiteY9" fmla="*/ 1361716 h 5239791"/>
              <a:gd name="connsiteX10" fmla="*/ 2337893 w 2403441"/>
              <a:gd name="connsiteY10" fmla="*/ 771781 h 5239791"/>
              <a:gd name="connsiteX11" fmla="*/ 2206796 w 2403441"/>
              <a:gd name="connsiteY11" fmla="*/ 362104 h 5239791"/>
              <a:gd name="connsiteX12" fmla="*/ 2018345 w 2403441"/>
              <a:gd name="connsiteY12" fmla="*/ 108104 h 5239791"/>
              <a:gd name="connsiteX13" fmla="*/ 1706990 w 2403441"/>
              <a:gd name="connsiteY13" fmla="*/ 9781 h 5239791"/>
              <a:gd name="connsiteX14" fmla="*/ 1265767 w 2403441"/>
              <a:gd name="connsiteY14" fmla="*/ 49417 h 5239791"/>
              <a:gd name="connsiteX15" fmla="*/ 846667 w 2403441"/>
              <a:gd name="connsiteY15" fmla="*/ 181845 h 5239791"/>
              <a:gd name="connsiteX16" fmla="*/ 502538 w 2403441"/>
              <a:gd name="connsiteY16" fmla="*/ 394878 h 5239791"/>
              <a:gd name="connsiteX17" fmla="*/ 215764 w 2403441"/>
              <a:gd name="connsiteY17" fmla="*/ 763587 h 5239791"/>
              <a:gd name="connsiteX18" fmla="*/ 10925 w 2403441"/>
              <a:gd name="connsiteY18" fmla="*/ 1443652 h 5239791"/>
              <a:gd name="connsiteX19" fmla="*/ 18607 w 2403441"/>
              <a:gd name="connsiteY19" fmla="*/ 4899793 h 5239791"/>
              <a:gd name="connsiteX0" fmla="*/ 18607 w 2403441"/>
              <a:gd name="connsiteY0" fmla="*/ 4899793 h 5213384"/>
              <a:gd name="connsiteX1" fmla="*/ 264925 w 2403441"/>
              <a:gd name="connsiteY1" fmla="*/ 5171716 h 5213384"/>
              <a:gd name="connsiteX2" fmla="*/ 715571 w 2403441"/>
              <a:gd name="connsiteY2" fmla="*/ 5149799 h 5213384"/>
              <a:gd name="connsiteX3" fmla="*/ 1280925 w 2403441"/>
              <a:gd name="connsiteY3" fmla="*/ 4860362 h 5213384"/>
              <a:gd name="connsiteX4" fmla="*/ 1682409 w 2403441"/>
              <a:gd name="connsiteY4" fmla="*/ 4565394 h 5213384"/>
              <a:gd name="connsiteX5" fmla="*/ 1960990 w 2403441"/>
              <a:gd name="connsiteY5" fmla="*/ 4204878 h 5213384"/>
              <a:gd name="connsiteX6" fmla="*/ 2198603 w 2403441"/>
              <a:gd name="connsiteY6" fmla="*/ 3598555 h 5213384"/>
              <a:gd name="connsiteX7" fmla="*/ 2337893 w 2403441"/>
              <a:gd name="connsiteY7" fmla="*/ 2844749 h 5213384"/>
              <a:gd name="connsiteX8" fmla="*/ 2395248 w 2403441"/>
              <a:gd name="connsiteY8" fmla="*/ 2058168 h 5213384"/>
              <a:gd name="connsiteX9" fmla="*/ 2387054 w 2403441"/>
              <a:gd name="connsiteY9" fmla="*/ 1361716 h 5213384"/>
              <a:gd name="connsiteX10" fmla="*/ 2337893 w 2403441"/>
              <a:gd name="connsiteY10" fmla="*/ 771781 h 5213384"/>
              <a:gd name="connsiteX11" fmla="*/ 2206796 w 2403441"/>
              <a:gd name="connsiteY11" fmla="*/ 362104 h 5213384"/>
              <a:gd name="connsiteX12" fmla="*/ 2018345 w 2403441"/>
              <a:gd name="connsiteY12" fmla="*/ 108104 h 5213384"/>
              <a:gd name="connsiteX13" fmla="*/ 1706990 w 2403441"/>
              <a:gd name="connsiteY13" fmla="*/ 9781 h 5213384"/>
              <a:gd name="connsiteX14" fmla="*/ 1265767 w 2403441"/>
              <a:gd name="connsiteY14" fmla="*/ 49417 h 5213384"/>
              <a:gd name="connsiteX15" fmla="*/ 846667 w 2403441"/>
              <a:gd name="connsiteY15" fmla="*/ 181845 h 5213384"/>
              <a:gd name="connsiteX16" fmla="*/ 502538 w 2403441"/>
              <a:gd name="connsiteY16" fmla="*/ 394878 h 5213384"/>
              <a:gd name="connsiteX17" fmla="*/ 215764 w 2403441"/>
              <a:gd name="connsiteY17" fmla="*/ 763587 h 5213384"/>
              <a:gd name="connsiteX18" fmla="*/ 10925 w 2403441"/>
              <a:gd name="connsiteY18" fmla="*/ 1443652 h 5213384"/>
              <a:gd name="connsiteX19" fmla="*/ 18607 w 2403441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64045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0070 w 2402586"/>
              <a:gd name="connsiteY3" fmla="*/ 4860362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381097"/>
              <a:gd name="connsiteX1" fmla="*/ 264070 w 2402586"/>
              <a:gd name="connsiteY1" fmla="*/ 5171716 h 5381097"/>
              <a:gd name="connsiteX2" fmla="*/ 714716 w 2402586"/>
              <a:gd name="connsiteY2" fmla="*/ 5149799 h 5381097"/>
              <a:gd name="connsiteX3" fmla="*/ 1551003 w 2402586"/>
              <a:gd name="connsiteY3" fmla="*/ 5283696 h 5381097"/>
              <a:gd name="connsiteX4" fmla="*/ 1681554 w 2402586"/>
              <a:gd name="connsiteY4" fmla="*/ 4565394 h 5381097"/>
              <a:gd name="connsiteX5" fmla="*/ 1960135 w 2402586"/>
              <a:gd name="connsiteY5" fmla="*/ 4204878 h 5381097"/>
              <a:gd name="connsiteX6" fmla="*/ 2197748 w 2402586"/>
              <a:gd name="connsiteY6" fmla="*/ 3598555 h 5381097"/>
              <a:gd name="connsiteX7" fmla="*/ 2337038 w 2402586"/>
              <a:gd name="connsiteY7" fmla="*/ 2844749 h 5381097"/>
              <a:gd name="connsiteX8" fmla="*/ 2394393 w 2402586"/>
              <a:gd name="connsiteY8" fmla="*/ 2058168 h 5381097"/>
              <a:gd name="connsiteX9" fmla="*/ 2386199 w 2402586"/>
              <a:gd name="connsiteY9" fmla="*/ 1361716 h 5381097"/>
              <a:gd name="connsiteX10" fmla="*/ 2337038 w 2402586"/>
              <a:gd name="connsiteY10" fmla="*/ 771781 h 5381097"/>
              <a:gd name="connsiteX11" fmla="*/ 2205941 w 2402586"/>
              <a:gd name="connsiteY11" fmla="*/ 362104 h 5381097"/>
              <a:gd name="connsiteX12" fmla="*/ 2017490 w 2402586"/>
              <a:gd name="connsiteY12" fmla="*/ 108104 h 5381097"/>
              <a:gd name="connsiteX13" fmla="*/ 1706135 w 2402586"/>
              <a:gd name="connsiteY13" fmla="*/ 9781 h 5381097"/>
              <a:gd name="connsiteX14" fmla="*/ 1264912 w 2402586"/>
              <a:gd name="connsiteY14" fmla="*/ 49417 h 5381097"/>
              <a:gd name="connsiteX15" fmla="*/ 845812 w 2402586"/>
              <a:gd name="connsiteY15" fmla="*/ 181845 h 5381097"/>
              <a:gd name="connsiteX16" fmla="*/ 501683 w 2402586"/>
              <a:gd name="connsiteY16" fmla="*/ 394878 h 5381097"/>
              <a:gd name="connsiteX17" fmla="*/ 214909 w 2402586"/>
              <a:gd name="connsiteY17" fmla="*/ 763587 h 5381097"/>
              <a:gd name="connsiteX18" fmla="*/ 16420 w 2402586"/>
              <a:gd name="connsiteY18" fmla="*/ 1443652 h 5381097"/>
              <a:gd name="connsiteX19" fmla="*/ 17752 w 2402586"/>
              <a:gd name="connsiteY19" fmla="*/ 4899793 h 5381097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7752 w 2402586"/>
              <a:gd name="connsiteY19" fmla="*/ 4899793 h 5213384"/>
              <a:gd name="connsiteX0" fmla="*/ 17752 w 2402586"/>
              <a:gd name="connsiteY0" fmla="*/ 4899793 h 5213384"/>
              <a:gd name="connsiteX1" fmla="*/ 264070 w 2402586"/>
              <a:gd name="connsiteY1" fmla="*/ 5171716 h 5213384"/>
              <a:gd name="connsiteX2" fmla="*/ 714716 w 2402586"/>
              <a:gd name="connsiteY2" fmla="*/ 5149799 h 5213384"/>
              <a:gd name="connsiteX3" fmla="*/ 1288536 w 2402586"/>
              <a:gd name="connsiteY3" fmla="*/ 4868829 h 5213384"/>
              <a:gd name="connsiteX4" fmla="*/ 1681554 w 2402586"/>
              <a:gd name="connsiteY4" fmla="*/ 4565394 h 5213384"/>
              <a:gd name="connsiteX5" fmla="*/ 1960135 w 2402586"/>
              <a:gd name="connsiteY5" fmla="*/ 4204878 h 5213384"/>
              <a:gd name="connsiteX6" fmla="*/ 2197748 w 2402586"/>
              <a:gd name="connsiteY6" fmla="*/ 3598555 h 5213384"/>
              <a:gd name="connsiteX7" fmla="*/ 2337038 w 2402586"/>
              <a:gd name="connsiteY7" fmla="*/ 2844749 h 5213384"/>
              <a:gd name="connsiteX8" fmla="*/ 2394393 w 2402586"/>
              <a:gd name="connsiteY8" fmla="*/ 2058168 h 5213384"/>
              <a:gd name="connsiteX9" fmla="*/ 2386199 w 2402586"/>
              <a:gd name="connsiteY9" fmla="*/ 1361716 h 5213384"/>
              <a:gd name="connsiteX10" fmla="*/ 2337038 w 2402586"/>
              <a:gd name="connsiteY10" fmla="*/ 771781 h 5213384"/>
              <a:gd name="connsiteX11" fmla="*/ 2205941 w 2402586"/>
              <a:gd name="connsiteY11" fmla="*/ 362104 h 5213384"/>
              <a:gd name="connsiteX12" fmla="*/ 2017490 w 2402586"/>
              <a:gd name="connsiteY12" fmla="*/ 108104 h 5213384"/>
              <a:gd name="connsiteX13" fmla="*/ 1706135 w 2402586"/>
              <a:gd name="connsiteY13" fmla="*/ 9781 h 5213384"/>
              <a:gd name="connsiteX14" fmla="*/ 1264912 w 2402586"/>
              <a:gd name="connsiteY14" fmla="*/ 49417 h 5213384"/>
              <a:gd name="connsiteX15" fmla="*/ 845812 w 2402586"/>
              <a:gd name="connsiteY15" fmla="*/ 181845 h 5213384"/>
              <a:gd name="connsiteX16" fmla="*/ 501683 w 2402586"/>
              <a:gd name="connsiteY16" fmla="*/ 394878 h 5213384"/>
              <a:gd name="connsiteX17" fmla="*/ 214909 w 2402586"/>
              <a:gd name="connsiteY17" fmla="*/ 763587 h 5213384"/>
              <a:gd name="connsiteX18" fmla="*/ 16420 w 2402586"/>
              <a:gd name="connsiteY18" fmla="*/ 1443652 h 5213384"/>
              <a:gd name="connsiteX19" fmla="*/ 109192 w 2402586"/>
              <a:gd name="connsiteY19" fmla="*/ 4991233 h 5213384"/>
              <a:gd name="connsiteX0" fmla="*/ 1332 w 2386166"/>
              <a:gd name="connsiteY0" fmla="*/ 4899793 h 5213384"/>
              <a:gd name="connsiteX1" fmla="*/ 247650 w 2386166"/>
              <a:gd name="connsiteY1" fmla="*/ 5171716 h 5213384"/>
              <a:gd name="connsiteX2" fmla="*/ 698296 w 2386166"/>
              <a:gd name="connsiteY2" fmla="*/ 5149799 h 5213384"/>
              <a:gd name="connsiteX3" fmla="*/ 1272116 w 2386166"/>
              <a:gd name="connsiteY3" fmla="*/ 4868829 h 5213384"/>
              <a:gd name="connsiteX4" fmla="*/ 1665134 w 2386166"/>
              <a:gd name="connsiteY4" fmla="*/ 4565394 h 5213384"/>
              <a:gd name="connsiteX5" fmla="*/ 1943715 w 2386166"/>
              <a:gd name="connsiteY5" fmla="*/ 4204878 h 5213384"/>
              <a:gd name="connsiteX6" fmla="*/ 2181328 w 2386166"/>
              <a:gd name="connsiteY6" fmla="*/ 3598555 h 5213384"/>
              <a:gd name="connsiteX7" fmla="*/ 2320618 w 2386166"/>
              <a:gd name="connsiteY7" fmla="*/ 2844749 h 5213384"/>
              <a:gd name="connsiteX8" fmla="*/ 2377973 w 2386166"/>
              <a:gd name="connsiteY8" fmla="*/ 2058168 h 5213384"/>
              <a:gd name="connsiteX9" fmla="*/ 2369779 w 2386166"/>
              <a:gd name="connsiteY9" fmla="*/ 1361716 h 5213384"/>
              <a:gd name="connsiteX10" fmla="*/ 2320618 w 2386166"/>
              <a:gd name="connsiteY10" fmla="*/ 771781 h 5213384"/>
              <a:gd name="connsiteX11" fmla="*/ 2189521 w 2386166"/>
              <a:gd name="connsiteY11" fmla="*/ 362104 h 5213384"/>
              <a:gd name="connsiteX12" fmla="*/ 2001070 w 2386166"/>
              <a:gd name="connsiteY12" fmla="*/ 108104 h 5213384"/>
              <a:gd name="connsiteX13" fmla="*/ 1689715 w 2386166"/>
              <a:gd name="connsiteY13" fmla="*/ 9781 h 5213384"/>
              <a:gd name="connsiteX14" fmla="*/ 1248492 w 2386166"/>
              <a:gd name="connsiteY14" fmla="*/ 49417 h 5213384"/>
              <a:gd name="connsiteX15" fmla="*/ 829392 w 2386166"/>
              <a:gd name="connsiteY15" fmla="*/ 181845 h 5213384"/>
              <a:gd name="connsiteX16" fmla="*/ 485263 w 2386166"/>
              <a:gd name="connsiteY16" fmla="*/ 394878 h 5213384"/>
              <a:gd name="connsiteX17" fmla="*/ 198489 w 2386166"/>
              <a:gd name="connsiteY17" fmla="*/ 763587 h 5213384"/>
              <a:gd name="connsiteX18" fmla="*/ 0 w 2386166"/>
              <a:gd name="connsiteY18" fmla="*/ 1443652 h 5213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86166" h="5213384">
                <a:moveTo>
                  <a:pt x="1332" y="4899793"/>
                </a:moveTo>
                <a:cubicBezTo>
                  <a:pt x="19084" y="4939395"/>
                  <a:pt x="83864" y="5101473"/>
                  <a:pt x="247650" y="5171716"/>
                </a:cubicBezTo>
                <a:cubicBezTo>
                  <a:pt x="401911" y="5213384"/>
                  <a:pt x="527552" y="5200280"/>
                  <a:pt x="698296" y="5149799"/>
                </a:cubicBezTo>
                <a:cubicBezTo>
                  <a:pt x="869040" y="5099318"/>
                  <a:pt x="1110976" y="4966230"/>
                  <a:pt x="1272116" y="4868829"/>
                </a:cubicBezTo>
                <a:cubicBezTo>
                  <a:pt x="1433256" y="4771428"/>
                  <a:pt x="1553201" y="4676052"/>
                  <a:pt x="1665134" y="4565394"/>
                </a:cubicBezTo>
                <a:cubicBezTo>
                  <a:pt x="1777067" y="4454736"/>
                  <a:pt x="1857683" y="4366018"/>
                  <a:pt x="1943715" y="4204878"/>
                </a:cubicBezTo>
                <a:cubicBezTo>
                  <a:pt x="2029747" y="4043738"/>
                  <a:pt x="2118511" y="3825243"/>
                  <a:pt x="2181328" y="3598555"/>
                </a:cubicBezTo>
                <a:cubicBezTo>
                  <a:pt x="2244145" y="3371867"/>
                  <a:pt x="2287844" y="3101480"/>
                  <a:pt x="2320618" y="2844749"/>
                </a:cubicBezTo>
                <a:cubicBezTo>
                  <a:pt x="2353392" y="2588018"/>
                  <a:pt x="2369780" y="2305340"/>
                  <a:pt x="2377973" y="2058168"/>
                </a:cubicBezTo>
                <a:cubicBezTo>
                  <a:pt x="2386166" y="1810996"/>
                  <a:pt x="2379338" y="1576114"/>
                  <a:pt x="2369779" y="1361716"/>
                </a:cubicBezTo>
                <a:cubicBezTo>
                  <a:pt x="2360220" y="1147318"/>
                  <a:pt x="2350661" y="938383"/>
                  <a:pt x="2320618" y="771781"/>
                </a:cubicBezTo>
                <a:cubicBezTo>
                  <a:pt x="2290575" y="605179"/>
                  <a:pt x="2242779" y="472717"/>
                  <a:pt x="2189521" y="362104"/>
                </a:cubicBezTo>
                <a:cubicBezTo>
                  <a:pt x="2136263" y="251491"/>
                  <a:pt x="2084371" y="166824"/>
                  <a:pt x="2001070" y="108104"/>
                </a:cubicBezTo>
                <a:cubicBezTo>
                  <a:pt x="1917769" y="49384"/>
                  <a:pt x="1815145" y="19562"/>
                  <a:pt x="1689715" y="9781"/>
                </a:cubicBezTo>
                <a:cubicBezTo>
                  <a:pt x="1564285" y="0"/>
                  <a:pt x="1391879" y="20740"/>
                  <a:pt x="1248492" y="49417"/>
                </a:cubicBezTo>
                <a:cubicBezTo>
                  <a:pt x="1105105" y="78094"/>
                  <a:pt x="956597" y="124268"/>
                  <a:pt x="829392" y="181845"/>
                </a:cubicBezTo>
                <a:cubicBezTo>
                  <a:pt x="702187" y="239422"/>
                  <a:pt x="590414" y="297921"/>
                  <a:pt x="485263" y="394878"/>
                </a:cubicBezTo>
                <a:cubicBezTo>
                  <a:pt x="380113" y="491835"/>
                  <a:pt x="279366" y="588791"/>
                  <a:pt x="198489" y="763587"/>
                </a:cubicBezTo>
                <a:cubicBezTo>
                  <a:pt x="117612" y="938383"/>
                  <a:pt x="43699" y="1130932"/>
                  <a:pt x="0" y="1443652"/>
                </a:cubicBezTo>
              </a:path>
            </a:pathLst>
          </a:custGeom>
          <a:gradFill flip="none" rotWithShape="1">
            <a:gsLst>
              <a:gs pos="0">
                <a:srgbClr val="D2E5F4"/>
              </a:gs>
              <a:gs pos="100000">
                <a:srgbClr val="E6EEF7"/>
              </a:gs>
            </a:gsLst>
            <a:lin ang="19500000" scaled="0"/>
            <a:tileRect/>
          </a:gra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pic>
        <p:nvPicPr>
          <p:cNvPr id="12" name="Picture 11" descr="AS_logo_®_RGB22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8878" y="6362724"/>
            <a:ext cx="1140637" cy="264565"/>
          </a:xfrm>
          <a:prstGeom prst="rect">
            <a:avLst/>
          </a:prstGeom>
        </p:spPr>
      </p:pic>
      <p:sp>
        <p:nvSpPr>
          <p:cNvPr id="14" name="Text Box 8"/>
          <p:cNvSpPr txBox="1">
            <a:spLocks noChangeArrowheads="1"/>
          </p:cNvSpPr>
          <p:nvPr userDrawn="1"/>
        </p:nvSpPr>
        <p:spPr bwMode="auto">
          <a:xfrm>
            <a:off x="7366536" y="6466415"/>
            <a:ext cx="128693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ea typeface="ＭＳ Ｐゴシック" pitchFamily="-110" charset="-128"/>
                <a:cs typeface="ＭＳ Ｐゴシック" pitchFamily="-110" charset="-128"/>
              </a:rPr>
              <a:t>For Internal Use Only</a:t>
            </a: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91041" y="6437841"/>
            <a:ext cx="269875" cy="185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1B91C6E-09CB-C845-9004-479C9AB4CB42}" type="slidenum">
              <a:rPr lang="en-US" sz="1200">
                <a:solidFill>
                  <a:srgbClr val="000000"/>
                </a:solidFill>
                <a:ea typeface="ＭＳ Ｐゴシック" pitchFamily="-107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7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6846" y="146307"/>
            <a:ext cx="8156623" cy="6223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89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6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90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7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538" y="149227"/>
            <a:ext cx="8151812" cy="6223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Cover_page_1_PPT_business_no_logo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SH_logo_circleR_RGB_229_0_0_300dpi_0210.png"/>
          <p:cNvPicPr>
            <a:picLocks noChangeAspect="1"/>
          </p:cNvPicPr>
          <p:nvPr userDrawn="1"/>
        </p:nvPicPr>
        <p:blipFill>
          <a:blip r:embed="rId3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81175"/>
            <a:ext cx="5854700" cy="1470025"/>
          </a:xfrm>
        </p:spPr>
        <p:txBody>
          <a:bodyPr anchor="b"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198" y="3339403"/>
            <a:ext cx="5854702" cy="1316096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82729059-EFD3-4FE5-8F09-FA114AB0FDF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over_page_1_PPT_leisure_no_logo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SH_logo_circleR_RGB_229_0_0_300dpi_0210.png"/>
          <p:cNvPicPr>
            <a:picLocks noChangeAspect="1"/>
          </p:cNvPicPr>
          <p:nvPr userDrawn="1"/>
        </p:nvPicPr>
        <p:blipFill>
          <a:blip r:embed="rId3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81175"/>
            <a:ext cx="5854700" cy="1470025"/>
          </a:xfrm>
        </p:spPr>
        <p:txBody>
          <a:bodyPr anchor="b"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198" y="3339403"/>
            <a:ext cx="5854702" cy="1316096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5C521D67-3DB8-405F-8FAF-DF622F9DFF3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over_page_1_PPT_leisure2_no_logo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SH_logo_circleR_RGB_229_0_0_300dpi_0210.png"/>
          <p:cNvPicPr>
            <a:picLocks noChangeAspect="1"/>
          </p:cNvPicPr>
          <p:nvPr userDrawn="1"/>
        </p:nvPicPr>
        <p:blipFill>
          <a:blip r:embed="rId3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81175"/>
            <a:ext cx="5854700" cy="1470025"/>
          </a:xfrm>
        </p:spPr>
        <p:txBody>
          <a:bodyPr anchor="b"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198" y="3339403"/>
            <a:ext cx="5854702" cy="1316096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BCC0CFE1-9C9D-4AB9-87DC-8E986509C2F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872"/>
            <a:ext cx="5689600" cy="9191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33CA7F91-A638-47ED-A07A-F1AE47B40AE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inside_slide_black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SH_logo_circleR_RGB_229_0_0_300dpi_0210.png"/>
          <p:cNvPicPr>
            <a:picLocks noChangeAspect="1"/>
          </p:cNvPicPr>
          <p:nvPr userDrawn="1"/>
        </p:nvPicPr>
        <p:blipFill>
          <a:blip r:embed="rId3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4406900"/>
            <a:ext cx="7772400" cy="1362075"/>
          </a:xfrm>
        </p:spPr>
        <p:txBody>
          <a:bodyPr>
            <a:normAutofit/>
          </a:bodyPr>
          <a:lstStyle>
            <a:lvl1pPr algn="l">
              <a:defRPr sz="3600" b="0" cap="none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7200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F11FF367-A9D1-4756-9851-7C439998EC3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94771742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 descr="inside_slide_transparent_white_97dpi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SH_logo_circleR_RGB_229_0_0_300dpi_0210.png"/>
          <p:cNvPicPr>
            <a:picLocks noChangeAspect="1"/>
          </p:cNvPicPr>
          <p:nvPr userDrawn="1"/>
        </p:nvPicPr>
        <p:blipFill>
          <a:blip r:embed="rId4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06900"/>
            <a:ext cx="7772400" cy="1362075"/>
          </a:xfrm>
        </p:spPr>
        <p:txBody>
          <a:bodyPr>
            <a:normAutofit/>
          </a:bodyPr>
          <a:lstStyle>
            <a:lvl1pPr algn="l">
              <a:defRPr sz="3600" b="0" cap="none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625CAAD6-2D34-4D14-B2B5-31F76036B0E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H_logo_circleR_RGB_229_0_0_300dpi_0210.png"/>
          <p:cNvPicPr>
            <a:picLocks noChangeAspect="1"/>
          </p:cNvPicPr>
          <p:nvPr userDrawn="1"/>
        </p:nvPicPr>
        <p:blipFill>
          <a:blip r:embed="rId2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06900"/>
            <a:ext cx="7772400" cy="1362075"/>
          </a:xfrm>
        </p:spPr>
        <p:txBody>
          <a:bodyPr>
            <a:normAutofit/>
          </a:bodyPr>
          <a:lstStyle>
            <a:lvl1pPr algn="l">
              <a:defRPr sz="3600" b="0" cap="none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1582272A-3682-4FE5-A036-E20BBE5CE5C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8F922EBA-FD2E-480F-B680-79A5B38C4D1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89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272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66975"/>
            <a:ext cx="4040188" cy="3717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8272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66975"/>
            <a:ext cx="4041775" cy="3717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6BF0CD43-153D-456E-8C0D-C99372A2D2D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56CBDBA7-241B-467F-A0A5-F79F97B04AB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1F2AAF54-FC04-4A07-95EE-C367A4A4D5C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06588" y="1127124"/>
            <a:ext cx="5319712" cy="4187825"/>
          </a:xfrm>
          <a:prstGeom prst="roundRect">
            <a:avLst>
              <a:gd name="adj" fmla="val 4233"/>
            </a:avLst>
          </a:prstGeo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6588" y="5551488"/>
            <a:ext cx="5319712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AC2A2F24-FAF8-4A0C-8CB4-3F540777DC0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463" y="457200"/>
            <a:ext cx="8335962" cy="469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8463" y="1393825"/>
            <a:ext cx="4090987" cy="4927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50" y="1393825"/>
            <a:ext cx="4092575" cy="4927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over_page_1_PPT_leisure2_no_logo_97dpi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SH_logo_circleR_RGB_229_0_0_300dpi_0210.png"/>
          <p:cNvPicPr>
            <a:picLocks noChangeAspect="1"/>
          </p:cNvPicPr>
          <p:nvPr userDrawn="1"/>
        </p:nvPicPr>
        <p:blipFill>
          <a:blip r:embed="rId3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81175"/>
            <a:ext cx="5854700" cy="1470025"/>
          </a:xfrm>
        </p:spPr>
        <p:txBody>
          <a:bodyPr anchor="b"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198" y="3339403"/>
            <a:ext cx="5854702" cy="1316096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57200" y="6446838"/>
            <a:ext cx="1054100" cy="18415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buClr>
                <a:prstClr val="black"/>
              </a:buCl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02600" y="6356350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prstClr val="black"/>
              </a:buClr>
              <a:defRPr/>
            </a:pPr>
            <a:fld id="{BCC0CFE1-9C9D-4AB9-87DC-8E986509C2F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90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7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490"/>
            <a:ext cx="7772400" cy="1468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7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4976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509184"/>
            <a:ext cx="4060825" cy="46143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5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935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7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8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46053"/>
            <a:ext cx="2068512" cy="59774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4975" y="146053"/>
            <a:ext cx="6053138" cy="59774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vmlDrawing" Target="../drawings/vmlDrawing2.v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4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2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1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ags" Target="../tags/tag10.xml"/><Relationship Id="rId22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vmlDrawing" Target="../drawings/vmlDrawing4.v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18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1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16.xml"/><Relationship Id="rId22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vmlDrawing" Target="../drawings/vmlDrawing5.v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53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4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2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60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22.xml"/><Relationship Id="rId22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11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vmlDrawing" Target="../drawings/vmlDrawing6.vml"/><Relationship Id="rId18" Type="http://schemas.openxmlformats.org/officeDocument/2006/relationships/tags" Target="../tags/tag32.xml"/><Relationship Id="rId3" Type="http://schemas.openxmlformats.org/officeDocument/2006/relationships/slideLayout" Target="../slideLayouts/slideLayout79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83.xml"/><Relationship Id="rId12" Type="http://schemas.openxmlformats.org/officeDocument/2006/relationships/theme" Target="../theme/theme8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78.xml"/><Relationship Id="rId16" Type="http://schemas.openxmlformats.org/officeDocument/2006/relationships/tags" Target="../tags/tag30.xml"/><Relationship Id="rId20" Type="http://schemas.openxmlformats.org/officeDocument/2006/relationships/oleObject" Target="../embeddings/oleObject6.bin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81.xml"/><Relationship Id="rId15" Type="http://schemas.openxmlformats.org/officeDocument/2006/relationships/tags" Target="../tags/tag29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86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ags" Target="../tags/tag28.xml"/><Relationship Id="rId22" Type="http://schemas.openxmlformats.org/officeDocument/2006/relationships/image" Target="../media/image8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vmlDrawing" Target="../drawings/vmlDrawing7.vml"/><Relationship Id="rId18" Type="http://schemas.openxmlformats.org/officeDocument/2006/relationships/tags" Target="../tags/tag38.xml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9.xml"/><Relationship Id="rId17" Type="http://schemas.openxmlformats.org/officeDocument/2006/relationships/tags" Target="../tags/tag37.xml"/><Relationship Id="rId2" Type="http://schemas.openxmlformats.org/officeDocument/2006/relationships/slideLayout" Target="../slideLayouts/slideLayout89.xml"/><Relationship Id="rId16" Type="http://schemas.openxmlformats.org/officeDocument/2006/relationships/tags" Target="../tags/tag36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92.xml"/><Relationship Id="rId15" Type="http://schemas.openxmlformats.org/officeDocument/2006/relationships/tags" Target="../tags/tag3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tags" Target="../tags/tag34.xml"/><Relationship Id="rId22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4" descr="PPT_INT_Header_D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-1588" y="0"/>
            <a:ext cx="9145588" cy="178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930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96846" y="146307"/>
            <a:ext cx="8156623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6846" y="1089025"/>
            <a:ext cx="8156623" cy="495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39306" name="Text Box 10"/>
          <p:cNvSpPr txBox="1">
            <a:spLocks noChangeArrowheads="1"/>
          </p:cNvSpPr>
          <p:nvPr/>
        </p:nvSpPr>
        <p:spPr bwMode="auto">
          <a:xfrm>
            <a:off x="2574928" y="3922717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7366536" y="6466415"/>
            <a:ext cx="128693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ea typeface="ＭＳ Ｐゴシック" pitchFamily="-110" charset="-128"/>
                <a:cs typeface="ＭＳ Ｐゴシック" pitchFamily="-110" charset="-128"/>
              </a:rPr>
              <a:t>For Internal Use Only</a:t>
            </a:r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 bwMode="auto">
          <a:xfrm>
            <a:off x="8691041" y="6437841"/>
            <a:ext cx="269875" cy="185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1B91C6E-09CB-C845-9004-479C9AB4CB42}" type="slidenum">
              <a:rPr lang="en-US" sz="1200">
                <a:solidFill>
                  <a:srgbClr val="000000"/>
                </a:solidFill>
                <a:ea typeface="ＭＳ Ｐゴシック" pitchFamily="-107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pic>
        <p:nvPicPr>
          <p:cNvPr id="13" name="Picture 12" descr="AS_logo_®_RGB229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18878" y="6362724"/>
            <a:ext cx="1140637" cy="26456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ct val="0"/>
        </a:spcAft>
        <a:buNone/>
        <a:defRPr sz="20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347663" indent="-177800" algn="l" rtl="0" eaLnBrk="1" fontAlgn="base" hangingPunct="1">
        <a:spcBef>
          <a:spcPts val="600"/>
        </a:spcBef>
        <a:spcAft>
          <a:spcPct val="0"/>
        </a:spcAft>
        <a:buSzPct val="85000"/>
        <a:buFont typeface="Times" charset="0"/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515938" indent="-177800" algn="l" rtl="0" eaLnBrk="1" fontAlgn="base" hangingPunct="1">
        <a:spcBef>
          <a:spcPts val="600"/>
        </a:spcBef>
        <a:spcAft>
          <a:spcPct val="0"/>
        </a:spcAft>
        <a:buFont typeface="Arial"/>
        <a:buChar char="•"/>
        <a:defRPr>
          <a:solidFill>
            <a:schemeClr val="tx1"/>
          </a:solidFill>
          <a:latin typeface="+mn-lt"/>
          <a:ea typeface="ＭＳ Ｐゴシック" charset="-128"/>
        </a:defRPr>
      </a:lvl3pPr>
      <a:lvl4pPr marL="685800" indent="-177800" algn="l" rtl="0" eaLnBrk="1" fontAlgn="base" hangingPunct="1">
        <a:spcBef>
          <a:spcPts val="600"/>
        </a:spcBef>
        <a:spcAft>
          <a:spcPct val="0"/>
        </a:spcAft>
        <a:buSzPct val="95000"/>
        <a:buFont typeface="Arial"/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855663" indent="-177800" algn="l" rtl="0" eaLnBrk="1" fontAlgn="base" hangingPunct="1">
        <a:spcBef>
          <a:spcPts val="600"/>
        </a:spcBef>
        <a:spcAft>
          <a:spcPct val="0"/>
        </a:spcAft>
        <a:buFont typeface="Arial"/>
        <a:buChar char="•"/>
        <a:defRPr sz="1400">
          <a:solidFill>
            <a:schemeClr val="tx1"/>
          </a:solidFill>
          <a:latin typeface="+mn-lt"/>
          <a:ea typeface="ＭＳ Ｐゴシック" charset="-128"/>
        </a:defRPr>
      </a:lvl5pPr>
      <a:lvl6pPr marL="2117725" indent="-179388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-128"/>
        </a:defRPr>
      </a:lvl6pPr>
      <a:lvl7pPr marL="2574925" indent="-179388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-128"/>
        </a:defRPr>
      </a:lvl7pPr>
      <a:lvl8pPr marL="3032125" indent="-179388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-128"/>
        </a:defRPr>
      </a:lvl8pPr>
      <a:lvl9pPr marL="3489325" indent="-179388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E7C7F5-E319-4911-8CD3-BDDB0F00BFFC}" type="datetimeFigureOut">
              <a:rPr lang="en-US" smtClean="0"/>
              <a:pPr/>
              <a:t>9/2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A30203-DCB1-4C1E-989D-E7C1A3B79F0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87375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 rot="5400000">
            <a:off x="7589520" y="1081851"/>
            <a:ext cx="2011680" cy="384048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pPr algn="r" eaLnBrk="1" latinLnBrk="0" hangingPunct="1"/>
            <a:fld id="{E6F9B8CD-342D-4579-98EC-A8FD6B7370E1}" type="datetimeFigureOut">
              <a:rPr lang="en-US" smtClean="0"/>
              <a:pPr algn="r" eaLnBrk="1" latinLnBrk="0" hangingPunct="1"/>
              <a:t>9/29/2015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 rot="5400000">
            <a:off x="6990186" y="3737240"/>
            <a:ext cx="3200400" cy="365760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pPr algn="l" eaLnBrk="1" latinLnBrk="0" hangingPunct="1"/>
            <a:endParaRPr kumimoji="0" lang="en-US" dirty="0">
              <a:solidFill>
                <a:schemeClr val="tx2"/>
              </a:solidFill>
            </a:endParaRPr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76200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Oval 11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29016" y="5734050"/>
            <a:ext cx="609600" cy="521208"/>
          </a:xfrm>
          <a:prstGeom prst="rect">
            <a:avLst/>
          </a:prstGeom>
        </p:spPr>
        <p:txBody>
          <a:bodyPr vert="horz" anchor="ctr"/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pPr algn="ctr" eaLnBrk="1" latinLnBrk="0" hangingPunct="1"/>
            <a:fld id="{2BBB5E19-F10A-4C2F-BF6F-11C513378A2E}" type="slidenum">
              <a:rPr kumimoji="0" lang="en-US" smtClean="0"/>
              <a:pPr algn="ctr" eaLnBrk="1" latinLnBrk="0" hangingPunct="1"/>
              <a:t>‹#›</a:t>
            </a:fld>
            <a:endParaRPr kumimoji="0" lang="en-US" sz="1400" b="1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30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0000"/>
        <a:buFont typeface="Wingdings"/>
        <a:buChar char="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182880" algn="l" rtl="0" eaLnBrk="1" latinLnBrk="0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rtl="0" eaLnBrk="1" latinLnBrk="0" hangingPunct="1">
        <a:spcBef>
          <a:spcPct val="20000"/>
        </a:spcBef>
        <a:buClr>
          <a:schemeClr val="accent1"/>
        </a:buClr>
        <a:buChar char="•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2"/>
        </a:buClr>
        <a:buChar char="•"/>
        <a:defRPr kumimoji="0" sz="14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3" name="AutoShape 192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5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1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5" name="Picture 13" descr="sabre.JP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5126" name="Picture 14" descr="AS_logo_®_RGB229.png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12788" y="5985938"/>
            <a:ext cx="1625600" cy="395817"/>
          </a:xfrm>
          <a:prstGeom prst="rect">
            <a:avLst/>
          </a:prstGeom>
          <a:noFill/>
        </p:spPr>
      </p:pic>
      <p:pic>
        <p:nvPicPr>
          <p:cNvPr id="5127" name="Picture 15" descr="PoweringProgressTAG_RGB.png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822582" y="6197600"/>
            <a:ext cx="1463675" cy="162984"/>
          </a:xfrm>
          <a:prstGeom prst="rect">
            <a:avLst/>
          </a:prstGeom>
          <a:noFill/>
        </p:spPr>
      </p:pic>
      <p:sp>
        <p:nvSpPr>
          <p:cNvPr id="1026" name="Rectangle 8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5129" name="Rectangle 9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9" y="6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6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3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6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9" y="6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6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3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6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7" y="5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5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2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4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9" y="6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6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3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6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8" descr="inside_slide_transparent.png"/>
          <p:cNvPicPr>
            <a:picLocks noChangeAspect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22238"/>
            <a:ext cx="5803900" cy="11731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>2nd Line</a:t>
            </a:r>
            <a:endParaRPr lang="en-US" dirty="0"/>
          </a:p>
        </p:txBody>
      </p:sp>
      <p:sp>
        <p:nvSpPr>
          <p:cNvPr id="542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213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46838"/>
            <a:ext cx="1054100" cy="18415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lnSpc>
                <a:spcPct val="105000"/>
              </a:lnSpc>
              <a:buClr>
                <a:prstClr val="black"/>
              </a:buClr>
              <a:buSzPct val="95000"/>
              <a:buFont typeface="Times" pitchFamily="18" charset="0"/>
              <a:buNone/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026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lnSpc>
                <a:spcPct val="105000"/>
              </a:lnSpc>
              <a:buClr>
                <a:prstClr val="black"/>
              </a:buClr>
              <a:buSzPct val="95000"/>
              <a:buFont typeface="Times" pitchFamily="18" charset="0"/>
              <a:buNone/>
              <a:defRPr/>
            </a:pPr>
            <a:fld id="{CBC170DC-8332-46E4-B456-6ECEC8AAA42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lnSpc>
                  <a:spcPct val="105000"/>
                </a:lnSpc>
                <a:buClr>
                  <a:prstClr val="black"/>
                </a:buClr>
                <a:buSzPct val="95000"/>
                <a:buFont typeface="Times" pitchFamily="18" charset="0"/>
                <a:buNone/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4279" name="Picture 7" descr="SH_logo_circleR_RGB_229_0_0_300dpi_0210.png"/>
          <p:cNvPicPr>
            <a:picLocks noChangeAspect="1"/>
          </p:cNvPicPr>
          <p:nvPr/>
        </p:nvPicPr>
        <p:blipFill>
          <a:blip r:embed="rId18" cstate="print"/>
          <a:srcRect l="18863" r="12234" b="15825"/>
          <a:stretch>
            <a:fillRect/>
          </a:stretch>
        </p:blipFill>
        <p:spPr bwMode="auto">
          <a:xfrm>
            <a:off x="7394575" y="0"/>
            <a:ext cx="17494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</p:sldLayoutIdLst>
  <p:hf hdr="0" ftr="0" dt="0"/>
  <p:txStyles>
    <p:titleStyle>
      <a:lvl1pPr algn="l" defTabSz="457200" rtl="0" eaLnBrk="0" fontAlgn="base" hangingPunct="0">
        <a:lnSpc>
          <a:spcPts val="3375"/>
        </a:lnSpc>
        <a:spcBef>
          <a:spcPct val="0"/>
        </a:spcBef>
        <a:spcAft>
          <a:spcPct val="0"/>
        </a:spcAft>
        <a:defRPr sz="3200" kern="1200" spc="-100">
          <a:solidFill>
            <a:schemeClr val="bg1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2pPr>
      <a:lvl3pPr algn="l" defTabSz="457200" rtl="0" eaLnBrk="0" fontAlgn="base" hangingPunct="0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3pPr>
      <a:lvl4pPr algn="l" defTabSz="457200" rtl="0" eaLnBrk="0" fontAlgn="base" hangingPunct="0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4pPr>
      <a:lvl5pPr algn="l" defTabSz="457200" rtl="0" eaLnBrk="0" fontAlgn="base" hangingPunct="0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5pPr>
      <a:lvl6pPr marL="457200" algn="l" defTabSz="457200" rtl="0" fontAlgn="base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6pPr>
      <a:lvl7pPr marL="914400" algn="l" defTabSz="457200" rtl="0" fontAlgn="base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7pPr>
      <a:lvl8pPr marL="1371600" algn="l" defTabSz="457200" rtl="0" fontAlgn="base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8pPr>
      <a:lvl9pPr marL="1828800" algn="l" defTabSz="457200" rtl="0" fontAlgn="base">
        <a:lnSpc>
          <a:spcPts val="3375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defRPr sz="28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9" y="6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6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3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6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9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9" y="6"/>
          <a:ext cx="150813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Object 1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6"/>
                        <a:ext cx="150813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T_TextPageRGB_HeadLG_v3_2010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2117"/>
            <a:ext cx="9144000" cy="1778000"/>
          </a:xfrm>
          <a:prstGeom prst="rect">
            <a:avLst/>
          </a:prstGeom>
          <a:noFill/>
        </p:spPr>
      </p:pic>
      <p:sp>
        <p:nvSpPr>
          <p:cNvPr id="2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69900" y="146051"/>
            <a:ext cx="7767638" cy="62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34975" y="1509184"/>
            <a:ext cx="827405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39163" y="6675973"/>
            <a:ext cx="176212" cy="1312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  <a:defRPr/>
            </a:pPr>
            <a:r>
              <a:rPr lang="en-GB" sz="900">
                <a:solidFill>
                  <a:srgbClr val="000000"/>
                </a:solidFill>
              </a:rPr>
              <a:t>‹#›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4975" y="6695426"/>
            <a:ext cx="1104470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de-CH" sz="600">
                <a:solidFill>
                  <a:srgbClr val="000000"/>
                </a:solidFill>
              </a:rPr>
              <a:t>'Walk Around' Deck.Draftv1.pptx</a:t>
            </a:r>
            <a:endParaRPr lang="de-CH" sz="600" b="1" dirty="0">
              <a:solidFill>
                <a:srgbClr val="000000"/>
              </a:solidFill>
            </a:endParaRPr>
          </a:p>
        </p:txBody>
      </p:sp>
      <p:pic>
        <p:nvPicPr>
          <p:cNvPr id="1033" name="Picture 10" descr="AS_logo_®_RGB229.png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7963" y="6362700"/>
            <a:ext cx="1085850" cy="264584"/>
          </a:xfrm>
          <a:prstGeom prst="rect">
            <a:avLst/>
          </a:prstGeom>
          <a:noFill/>
        </p:spPr>
      </p:pic>
      <p:pic>
        <p:nvPicPr>
          <p:cNvPr id="1034" name="Picture 12" descr="PoweringProgressTAG_RGB.pn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19250" y="6504517"/>
            <a:ext cx="977900" cy="11006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ransition spd="med">
    <p:fade/>
  </p:transition>
  <p:hf hdr="0" ftr="0" dt="0"/>
  <p:txStyles>
    <p:titleStyle>
      <a:lvl1pPr algn="l" defTabSz="889000" rtl="0" fontAlgn="base">
        <a:spcBef>
          <a:spcPct val="0"/>
        </a:spcBef>
        <a:spcAft>
          <a:spcPct val="0"/>
        </a:spcAft>
        <a:defRPr sz="2200" b="1" kern="1200">
          <a:solidFill>
            <a:srgbClr val="FFFFFF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200" b="1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342900" indent="-342900" algn="l" defTabSz="889000" rtl="0" fontAlgn="base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Font typeface="Trebuchet M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Lisa.Shoop@sabre.com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hyperlink" Target="http://www1.search-results.com/picdetails?apn_dbr=&amp;apn_dtid=%5eBND406%5eYY%5eUS&amp;shad=s_0031,s_0041&amp;atb=sysid=406:appid=139:uid=0991de3194cb937a:uc=1366751216:src=ieb:o=APN10645&amp;trgb=&amp;apn_ptnrs=AG6&amp;o=APN10645&amp;l=dis&amp;apn_sauid=&amp;apn_uid=&amp;lang=en&amp;gct=ds&amp;q=change+people&amp;surl=http://www1.search-results.com/pictures?apn_dbr=&amp;apn_dtid=%5eBND406%5eYY%5eUS&amp;shad=s_0031,s_0041&amp;atb=sysid=406:appid=139:uid=0991de3194cb937a:uc=1366751216:src=ieb:o=APN10645&amp;trgb=&amp;apn_ptnrs=AG6&amp;o=APN10645&amp;l=dis&amp;apn_sauid=&amp;apn_uid=&amp;lang=en&amp;gct=ds&amp;q=change+people&amp;tpr=10&amp;page=2&amp;purl=http://www.dejal.net/smiledial/&amp;iurl=http://www.dejal.net/smiledial/images/people.png&amp;iw=320&amp;ih=480&amp;turl=http://media2.picsearch.com/is?4sr1y8_XDWPOkXqFl0AH8DU3c39Ur_2FhzUgZVommbQ&amp;tw=86&amp;th=128" TargetMode="External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/>
          </p:cNvSpPr>
          <p:nvPr>
            <p:ph type="subTitle" idx="4294967295"/>
          </p:nvPr>
        </p:nvSpPr>
        <p:spPr>
          <a:xfrm>
            <a:off x="304800" y="3048000"/>
            <a:ext cx="8382000" cy="1676400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 algn="r">
              <a:defRPr/>
            </a:pPr>
            <a:r>
              <a:rPr lang="en-US" sz="2800" i="1" kern="0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Agile Coaching Sabre</a:t>
            </a:r>
          </a:p>
          <a:p>
            <a:pPr marL="0" indent="0" algn="r">
              <a:defRPr/>
            </a:pPr>
            <a:endParaRPr lang="en-US" sz="2800" kern="0" dirty="0" smtClean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defRPr/>
            </a:pPr>
            <a:r>
              <a:rPr lang="en-US" sz="2800" kern="0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How to Sustain Agile - Teams and Organizations</a:t>
            </a:r>
          </a:p>
          <a:p>
            <a:pPr marL="0" indent="0" algn="r">
              <a:defRPr/>
            </a:pPr>
            <a:endParaRPr lang="en-US" sz="2800" b="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2"/>
          <p:cNvSpPr>
            <a:spLocks noGrp="1"/>
          </p:cNvSpPr>
          <p:nvPr>
            <p:ph type="ctrTitle" idx="4294967295"/>
          </p:nvPr>
        </p:nvSpPr>
        <p:spPr>
          <a:xfrm>
            <a:off x="4876800" y="1828800"/>
            <a:ext cx="3810000" cy="1227138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b"/>
          <a:lstStyle/>
          <a:p>
            <a:pPr algn="r">
              <a:defRPr/>
            </a:pPr>
            <a:r>
              <a:rPr lang="en-US" sz="4400" b="1" kern="0" dirty="0" smtClean="0">
                <a:latin typeface="Calibri" pitchFamily="34" charset="0"/>
                <a:cs typeface="Calibri" pitchFamily="34" charset="0"/>
              </a:rPr>
              <a:t>Lisa  Shoop</a:t>
            </a:r>
            <a:endParaRPr lang="en-US" sz="4400" b="1" kern="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9833132"/>
              </p:ext>
            </p:extLst>
          </p:nvPr>
        </p:nvGraphicFramePr>
        <p:xfrm>
          <a:off x="381000" y="170411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609600" y="152400"/>
            <a:ext cx="74295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i="1" dirty="0">
                <a:solidFill>
                  <a:srgbClr val="6A9913">
                    <a:lumMod val="50000"/>
                  </a:srgbClr>
                </a:solidFill>
                <a:ea typeface="ＭＳ Ｐゴシック" pitchFamily="-110" charset="-128"/>
                <a:cs typeface="Arial" pitchFamily="34" charset="0"/>
              </a:rPr>
              <a:t>Strategy</a:t>
            </a:r>
            <a:r>
              <a:rPr lang="en-US" sz="3200" b="1" dirty="0">
                <a:solidFill>
                  <a:srgbClr val="6A9913">
                    <a:lumMod val="50000"/>
                  </a:srgbClr>
                </a:solidFill>
                <a:ea typeface="ＭＳ Ｐゴシック" pitchFamily="-110" charset="-128"/>
                <a:cs typeface="Arial" pitchFamily="34" charset="0"/>
              </a:rPr>
              <a:t>: Transform </a:t>
            </a:r>
            <a:r>
              <a:rPr lang="en-US" sz="3200" b="1" dirty="0" err="1">
                <a:solidFill>
                  <a:srgbClr val="6A9913">
                    <a:lumMod val="50000"/>
                  </a:srgbClr>
                </a:solidFill>
                <a:ea typeface="ＭＳ Ｐゴシック" pitchFamily="-110" charset="-128"/>
                <a:cs typeface="Arial" pitchFamily="34" charset="0"/>
              </a:rPr>
              <a:t>Sabre’s</a:t>
            </a:r>
            <a:r>
              <a:rPr lang="en-US" sz="3200" b="1" dirty="0">
                <a:solidFill>
                  <a:srgbClr val="6A9913">
                    <a:lumMod val="50000"/>
                  </a:srgbClr>
                </a:solidFill>
                <a:ea typeface="ＭＳ Ｐゴシック" pitchFamily="-110" charset="-128"/>
                <a:cs typeface="Arial" pitchFamily="34" charset="0"/>
              </a:rPr>
              <a:t> Ad-Hoc Agile to efficient Scrum Tea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391400" y="6400800"/>
            <a:ext cx="1295400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2E83F45-394A-4EC3-B0B6-8E22A3C0D4F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4076A1A-21DB-4964-A686-6F820C1010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9456688D-4A7C-4CBA-B3B5-67D005FD37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E1D5DF10-9981-4CDA-B831-9334D06C57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09C41E39-9B81-4896-B3FF-A5B5275BA9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88179E4-6644-420A-A911-2B94907AAD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1FF93A53-2EF8-4998-A7E5-1BBA5BFD02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2E83F45-394A-4EC3-B0B6-8E22A3C0D4F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4076A1A-21DB-4964-A686-6F820C1010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Dgm bld="one"/>
        </p:bldSub>
      </p:bldGraphic>
      <p:bldGraphic spid="6" grpId="1" uiExpand="1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auto">
          <a:xfrm>
            <a:off x="217723" y="1326463"/>
            <a:ext cx="2467427" cy="3773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17723" y="4706491"/>
            <a:ext cx="2467427" cy="3773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17723" y="3029999"/>
            <a:ext cx="2467427" cy="3773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13716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73269" y="1187451"/>
            <a:ext cx="6677025" cy="508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perspectiveHeroicExtremeLeftFacing"/>
            <a:lightRig rig="threePt" dir="t"/>
          </a:scene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Agile </a:t>
            </a:r>
            <a:r>
              <a:rPr lang="en-US" sz="2800" dirty="0"/>
              <a:t>Simplic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0860" y="946801"/>
            <a:ext cx="7848600" cy="4935539"/>
          </a:xfrm>
        </p:spPr>
        <p:txBody>
          <a:bodyPr anchor="ctr"/>
          <a:lstStyle/>
          <a:p>
            <a:pPr>
              <a:buNone/>
            </a:pPr>
            <a:r>
              <a:rPr lang="en-US" sz="2800" dirty="0" smtClean="0">
                <a:solidFill>
                  <a:schemeClr val="accent6">
                    <a:lumMod val="75000"/>
                  </a:schemeClr>
                </a:solidFill>
              </a:rPr>
              <a:t>Scrum is An Elegantly Simple Software Method</a:t>
            </a:r>
          </a:p>
          <a:p>
            <a:endParaRPr lang="en-US" sz="800" dirty="0" smtClean="0"/>
          </a:p>
          <a:p>
            <a:pPr marL="0" indent="0">
              <a:buNone/>
            </a:pPr>
            <a:r>
              <a:rPr lang="en-US" dirty="0" smtClean="0"/>
              <a:t>Three Roles</a:t>
            </a:r>
          </a:p>
          <a:p>
            <a:pPr lvl="1"/>
            <a:r>
              <a:rPr lang="en-US" sz="1800" dirty="0" smtClean="0"/>
              <a:t>Product Owner</a:t>
            </a:r>
          </a:p>
          <a:p>
            <a:pPr lvl="1"/>
            <a:r>
              <a:rPr lang="en-US" sz="1800" dirty="0" smtClean="0"/>
              <a:t>Scrum Master</a:t>
            </a:r>
          </a:p>
          <a:p>
            <a:pPr lvl="1"/>
            <a:r>
              <a:rPr lang="en-US" sz="1800" dirty="0" smtClean="0"/>
              <a:t>Development teams</a:t>
            </a:r>
            <a:br>
              <a:rPr lang="en-US" sz="1800" dirty="0" smtClean="0"/>
            </a:br>
            <a:endParaRPr lang="en-US" sz="1800" dirty="0" smtClean="0"/>
          </a:p>
          <a:p>
            <a:pPr marL="0" indent="0">
              <a:buNone/>
            </a:pPr>
            <a:r>
              <a:rPr lang="en-US" dirty="0" smtClean="0"/>
              <a:t>The Ceremonies</a:t>
            </a:r>
          </a:p>
          <a:p>
            <a:pPr lvl="1"/>
            <a:r>
              <a:rPr lang="en-US" sz="1800" dirty="0" smtClean="0"/>
              <a:t>Daily Scrum (Stand-Up) </a:t>
            </a:r>
          </a:p>
          <a:p>
            <a:pPr lvl="1"/>
            <a:r>
              <a:rPr lang="en-US" sz="1800" dirty="0"/>
              <a:t>Sprint/Iteration Planning</a:t>
            </a:r>
          </a:p>
          <a:p>
            <a:pPr lvl="1"/>
            <a:r>
              <a:rPr lang="en-US" sz="1800" dirty="0" smtClean="0"/>
              <a:t>Sprint Review </a:t>
            </a:r>
          </a:p>
          <a:p>
            <a:pPr lvl="1"/>
            <a:r>
              <a:rPr lang="en-US" sz="1800" dirty="0" smtClean="0"/>
              <a:t>Sprint Retrospective</a:t>
            </a:r>
          </a:p>
          <a:p>
            <a:pPr marL="0" indent="0">
              <a:buNone/>
            </a:pPr>
            <a:r>
              <a:rPr lang="en-US" dirty="0" smtClean="0"/>
              <a:t>Three Artifacts</a:t>
            </a:r>
          </a:p>
          <a:p>
            <a:pPr lvl="1"/>
            <a:r>
              <a:rPr lang="en-US" sz="1800" dirty="0" smtClean="0"/>
              <a:t>Product Backlog</a:t>
            </a:r>
          </a:p>
          <a:p>
            <a:pPr lvl="1"/>
            <a:r>
              <a:rPr lang="en-US" sz="1800" dirty="0" smtClean="0"/>
              <a:t>Sprint Backlog</a:t>
            </a:r>
          </a:p>
          <a:p>
            <a:pPr lvl="1"/>
            <a:r>
              <a:rPr lang="en-US" sz="1800" dirty="0" smtClean="0"/>
              <a:t>Increments</a:t>
            </a:r>
            <a:endParaRPr lang="en-US" sz="1800" dirty="0"/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0692484"/>
              </p:ext>
            </p:extLst>
          </p:nvPr>
        </p:nvGraphicFramePr>
        <p:xfrm>
          <a:off x="468313" y="1057276"/>
          <a:ext cx="8408987" cy="4999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 bwMode="auto">
          <a:xfrm>
            <a:off x="533400" y="236596"/>
            <a:ext cx="8156624" cy="911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kern="0" dirty="0" smtClean="0">
                <a:solidFill>
                  <a:srgbClr val="666666"/>
                </a:solidFill>
                <a:latin typeface="Arial"/>
                <a:ea typeface="ＭＳ Ｐゴシック" pitchFamily="-110" charset="-128"/>
                <a:cs typeface="ＭＳ Ｐゴシック" pitchFamily="-110" charset="-128"/>
              </a:rPr>
              <a:t>Why Scrum at Sabre?</a:t>
            </a:r>
            <a:endParaRPr lang="en-US" sz="3600" b="1" kern="0" dirty="0">
              <a:solidFill>
                <a:srgbClr val="666666"/>
              </a:solidFill>
              <a:latin typeface="Arial"/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91400" y="6477000"/>
            <a:ext cx="1295400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</p:txBody>
      </p:sp>
      <p:sp>
        <p:nvSpPr>
          <p:cNvPr id="8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2F5AB47-6A02-49FA-ABC5-C3232C3537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graphicEl>
                                              <a:dgm id="{D2F5AB47-6A02-49FA-ABC5-C3232C3537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graphicEl>
                                              <a:dgm id="{D2F5AB47-6A02-49FA-ABC5-C3232C3537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35C2514-5602-4E2A-8EC6-B31E8B1C8E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graphicEl>
                                              <a:dgm id="{A35C2514-5602-4E2A-8EC6-B31E8B1C8E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graphicEl>
                                              <a:dgm id="{A35C2514-5602-4E2A-8EC6-B31E8B1C8E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33549C1-4877-44E4-997B-CCE71FE323F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graphicEl>
                                              <a:dgm id="{233549C1-4877-44E4-997B-CCE71FE323F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graphicEl>
                                              <a:dgm id="{233549C1-4877-44E4-997B-CCE71FE323F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FCAC056-2033-40C3-ACAA-A014EB00CF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graphicEl>
                                              <a:dgm id="{BFCAC056-2033-40C3-ACAA-A014EB00CF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graphicEl>
                                              <a:dgm id="{BFCAC056-2033-40C3-ACAA-A014EB00CF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7EE366E-D41F-416A-9764-11016D72CB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graphicEl>
                                              <a:dgm id="{97EE366E-D41F-416A-9764-11016D72CB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graphicEl>
                                              <a:dgm id="{97EE366E-D41F-416A-9764-11016D72CB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F920A3A-8C25-4931-A3AF-05C40D7FD8A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graphicEl>
                                              <a:dgm id="{8F920A3A-8C25-4931-A3AF-05C40D7FD8A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graphicEl>
                                              <a:dgm id="{8F920A3A-8C25-4931-A3AF-05C40D7FD8A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ight Arrow 21"/>
          <p:cNvSpPr/>
          <p:nvPr/>
        </p:nvSpPr>
        <p:spPr>
          <a:xfrm>
            <a:off x="11875" y="1233427"/>
            <a:ext cx="7772400" cy="1167719"/>
          </a:xfrm>
          <a:prstGeom prst="rightArrow">
            <a:avLst>
              <a:gd name="adj1" fmla="val 50000"/>
              <a:gd name="adj2" fmla="val 118271"/>
            </a:avLst>
          </a:prstGeom>
          <a:solidFill>
            <a:schemeClr val="bg1"/>
          </a:solidFill>
          <a:effectLst>
            <a:glow rad="127000">
              <a:schemeClr val="bg1">
                <a:lumMod val="50000"/>
                <a:alpha val="15000"/>
              </a:schemeClr>
            </a:glo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latin typeface="Arial Blac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600" y="1600200"/>
            <a:ext cx="7010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ea typeface="ＭＳ Ｐゴシック" pitchFamily="-110" charset="-128"/>
              </a:rPr>
              <a:t>Transformation &amp; Continuous Learning</a:t>
            </a:r>
            <a:endParaRPr lang="en-US" sz="2800" b="1" dirty="0">
              <a:solidFill>
                <a:prstClr val="black"/>
              </a:solidFill>
              <a:ea typeface="ＭＳ Ｐゴシック" pitchFamily="-110" charset="-128"/>
            </a:endParaRPr>
          </a:p>
        </p:txBody>
      </p:sp>
      <p:sp>
        <p:nvSpPr>
          <p:cNvPr id="11" name="Rectangle 10"/>
          <p:cNvSpPr/>
          <p:nvPr/>
        </p:nvSpPr>
        <p:spPr>
          <a:xfrm rot="19501389">
            <a:off x="-251995" y="2871898"/>
            <a:ext cx="2057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uxton Sketch" pitchFamily="66" charset="0"/>
                <a:ea typeface="ＭＳ Ｐゴシック" pitchFamily="-110" charset="-128"/>
              </a:rPr>
              <a:t>broad reach</a:t>
            </a:r>
          </a:p>
        </p:txBody>
      </p:sp>
      <p:sp>
        <p:nvSpPr>
          <p:cNvPr id="12" name="Rectangle 11"/>
          <p:cNvSpPr/>
          <p:nvPr/>
        </p:nvSpPr>
        <p:spPr>
          <a:xfrm rot="19501389">
            <a:off x="-255389" y="4741641"/>
            <a:ext cx="2057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uxton Sketch" pitchFamily="66" charset="0"/>
                <a:ea typeface="ＭＳ Ｐゴシック" pitchFamily="-110" charset="-128"/>
              </a:rPr>
              <a:t>deep impact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063446" y="4611277"/>
            <a:ext cx="1183458" cy="1043527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Team Launch</a:t>
            </a:r>
          </a:p>
        </p:txBody>
      </p:sp>
      <p:sp>
        <p:nvSpPr>
          <p:cNvPr id="15" name="Oval 14"/>
          <p:cNvSpPr/>
          <p:nvPr/>
        </p:nvSpPr>
        <p:spPr>
          <a:xfrm>
            <a:off x="914400" y="3069772"/>
            <a:ext cx="1415258" cy="1197428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tx1"/>
                </a:solidFill>
              </a:rPr>
              <a:t>SM/PO </a:t>
            </a:r>
            <a:r>
              <a:rPr lang="en-US" sz="1600" b="1" dirty="0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16" name="Oval 15"/>
          <p:cNvSpPr/>
          <p:nvPr/>
        </p:nvSpPr>
        <p:spPr>
          <a:xfrm>
            <a:off x="1981200" y="3505200"/>
            <a:ext cx="1916875" cy="914400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Workshops</a:t>
            </a:r>
          </a:p>
        </p:txBody>
      </p:sp>
      <p:sp>
        <p:nvSpPr>
          <p:cNvPr id="17" name="Oval 16"/>
          <p:cNvSpPr/>
          <p:nvPr/>
        </p:nvSpPr>
        <p:spPr>
          <a:xfrm>
            <a:off x="2590800" y="2819501"/>
            <a:ext cx="2633434" cy="997877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tx1"/>
                </a:solidFill>
              </a:rPr>
              <a:t>Communications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480408" y="2533438"/>
            <a:ext cx="1776350" cy="1026735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eLearning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1909446" y="4607648"/>
            <a:ext cx="2194561" cy="997528"/>
          </a:xfrm>
          <a:prstGeom prst="roundRect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Needs Assessments/ Engagement Model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469374" y="4658829"/>
            <a:ext cx="2030680" cy="992197"/>
          </a:xfrm>
          <a:prstGeom prst="roundRect">
            <a:avLst/>
          </a:prstGeom>
          <a:solidFill>
            <a:srgbClr val="92D05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chemeClr val="tx1"/>
                </a:solidFill>
              </a:rPr>
              <a:t>Measure </a:t>
            </a:r>
            <a:r>
              <a:rPr lang="en-US" sz="1600" b="1" dirty="0">
                <a:solidFill>
                  <a:schemeClr val="tx1"/>
                </a:solidFill>
              </a:rPr>
              <a:t>Results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Ongoing Assessment</a:t>
            </a:r>
          </a:p>
        </p:txBody>
      </p:sp>
      <p:sp>
        <p:nvSpPr>
          <p:cNvPr id="21" name="Oval 20"/>
          <p:cNvSpPr/>
          <p:nvPr/>
        </p:nvSpPr>
        <p:spPr>
          <a:xfrm>
            <a:off x="6700294" y="3146467"/>
            <a:ext cx="1524000" cy="1026735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uick Hit Videos</a:t>
            </a:r>
          </a:p>
        </p:txBody>
      </p:sp>
      <p:sp>
        <p:nvSpPr>
          <p:cNvPr id="23" name="Oval 22"/>
          <p:cNvSpPr/>
          <p:nvPr/>
        </p:nvSpPr>
        <p:spPr>
          <a:xfrm>
            <a:off x="4456843" y="3338562"/>
            <a:ext cx="1867757" cy="835252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Community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5207037" y="4623205"/>
            <a:ext cx="1267275" cy="1043527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Cadence Coaching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02473" y="229337"/>
            <a:ext cx="425437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pitchFamily="-110" charset="-128"/>
              </a:rPr>
              <a:t>How We Get The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239000" y="6400800"/>
            <a:ext cx="1524000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</p:txBody>
      </p:sp>
      <p:sp>
        <p:nvSpPr>
          <p:cNvPr id="28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96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25400"/>
            <a:ext cx="9220200" cy="8206317"/>
          </a:xfrm>
          <a:prstGeom prst="rect">
            <a:avLst/>
          </a:prstGeom>
          <a:noFill/>
        </p:spPr>
      </p:pic>
      <p:sp>
        <p:nvSpPr>
          <p:cNvPr id="34819" name="Text Box 3"/>
          <p:cNvSpPr txBox="1">
            <a:spLocks/>
          </p:cNvSpPr>
          <p:nvPr/>
        </p:nvSpPr>
        <p:spPr bwMode="auto">
          <a:xfrm>
            <a:off x="228600" y="482606"/>
            <a:ext cx="7766050" cy="742951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tIns="0" rIns="0" bIns="0"/>
          <a:lstStyle/>
          <a:p>
            <a:pPr defTabSz="889000" fontAlgn="base">
              <a:spcBef>
                <a:spcPct val="0"/>
              </a:spcBef>
              <a:spcAft>
                <a:spcPct val="0"/>
              </a:spcAft>
            </a:pPr>
            <a:endParaRPr lang="en-US" sz="4800">
              <a:solidFill>
                <a:srgbClr val="FFFFFF"/>
              </a:solidFill>
              <a:latin typeface="Jing Jing" charset="0"/>
            </a:endParaRPr>
          </a:p>
        </p:txBody>
      </p:sp>
      <p:sp>
        <p:nvSpPr>
          <p:cNvPr id="1026" name="Rectangle 4"/>
          <p:cNvSpPr>
            <a:spLocks noGrp="1"/>
          </p:cNvSpPr>
          <p:nvPr>
            <p:ph type="title" idx="4294967295"/>
          </p:nvPr>
        </p:nvSpPr>
        <p:spPr>
          <a:xfrm>
            <a:off x="152400" y="482606"/>
            <a:ext cx="7766050" cy="946150"/>
          </a:xfrm>
          <a:noFill/>
          <a:ln/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1440"/>
          <a:lstStyle/>
          <a:p>
            <a:r>
              <a:rPr lang="en-US" sz="4000" b="0" dirty="0">
                <a:latin typeface="Jing Jing" charset="0"/>
              </a:rPr>
              <a:t>KEY TAKE AWAYS</a:t>
            </a:r>
          </a:p>
        </p:txBody>
      </p:sp>
      <p:sp>
        <p:nvSpPr>
          <p:cNvPr id="14" name="AutoShape 5"/>
          <p:cNvSpPr/>
          <p:nvPr/>
        </p:nvSpPr>
        <p:spPr bwMode="auto">
          <a:xfrm>
            <a:off x="3817706" y="1371600"/>
            <a:ext cx="5334000" cy="3970950"/>
          </a:xfrm>
          <a:prstGeom prst="roundRect">
            <a:avLst/>
          </a:prstGeom>
          <a:solidFill>
            <a:schemeClr val="lt1">
              <a:alpha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Recognize that change in a team impacts   - big or smal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Plan! For learning and train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 dirty="0" smtClean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Use multiple ways of training and keep Agile fresh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- team needs </a:t>
            </a:r>
            <a:r>
              <a:rPr lang="en-US" sz="2400" b="1" i="1" dirty="0" smtClean="0">
                <a:solidFill>
                  <a:srgbClr val="000000"/>
                </a:solidFill>
              </a:rPr>
              <a:t>will</a:t>
            </a:r>
            <a:r>
              <a:rPr lang="en-US" sz="2400" b="1" dirty="0" smtClean="0">
                <a:solidFill>
                  <a:srgbClr val="000000"/>
                </a:solidFill>
              </a:rPr>
              <a:t> be different 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8559800" y="6675437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81000" y="6673334"/>
            <a:ext cx="20574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534400" y="6488668"/>
            <a:ext cx="18473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3" name="Picture 12" descr="q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71800" y="1828800"/>
            <a:ext cx="3200400" cy="3200400"/>
          </a:xfrm>
          <a:prstGeom prst="rect">
            <a:avLst/>
          </a:prstGeom>
        </p:spPr>
      </p:pic>
      <p:sp>
        <p:nvSpPr>
          <p:cNvPr id="10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/>
          </p:cNvSpPr>
          <p:nvPr>
            <p:ph type="subTitle" idx="4294967295"/>
          </p:nvPr>
        </p:nvSpPr>
        <p:spPr>
          <a:xfrm>
            <a:off x="1219200" y="3124200"/>
            <a:ext cx="5943600" cy="55880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 algn="ctr"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  <a:hlinkClick r:id="rId3"/>
              </a:rPr>
              <a:t>Lisa.Shoop@sabre.com</a:t>
            </a:r>
            <a:endParaRPr lang="en-US" sz="2800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marL="0" indent="0" algn="ctr">
              <a:defRPr/>
            </a:pPr>
            <a:endParaRPr lang="en-US" sz="2800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marL="0" indent="0" algn="ctr">
              <a:defRPr/>
            </a:pPr>
            <a:r>
              <a:rPr lang="en-US" sz="2800" kern="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witter  @LASHOOP</a:t>
            </a:r>
          </a:p>
          <a:p>
            <a:pPr marL="0" indent="0" algn="r">
              <a:defRPr/>
            </a:pPr>
            <a:endParaRPr lang="en-US" sz="2000" b="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2"/>
          <p:cNvSpPr>
            <a:spLocks noGrp="1"/>
          </p:cNvSpPr>
          <p:nvPr>
            <p:ph type="ctrTitle" idx="4294967295"/>
          </p:nvPr>
        </p:nvSpPr>
        <p:spPr>
          <a:xfrm>
            <a:off x="2743200" y="1828800"/>
            <a:ext cx="4267200" cy="1227138"/>
          </a:xfrm>
          <a:effectLst>
            <a:outerShdw blurRad="63500" dist="38100" dir="2700000" algn="ctr" rotWithShape="0">
              <a:schemeClr val="tx1">
                <a:alpha val="75000"/>
              </a:schemeClr>
            </a:outerShdw>
          </a:effectLst>
        </p:spPr>
        <p:txBody>
          <a:bodyPr anchor="b"/>
          <a:lstStyle/>
          <a:p>
            <a:pPr>
              <a:defRPr/>
            </a:pPr>
            <a:r>
              <a:rPr lang="en-US" sz="4400" kern="0" dirty="0" smtClean="0">
                <a:latin typeface="Arial" pitchFamily="34" charset="0"/>
                <a:cs typeface="Arial" pitchFamily="34" charset="0"/>
              </a:rPr>
              <a:t>Lisa Shoop</a:t>
            </a:r>
            <a:endParaRPr lang="en-US" sz="4400" kern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"/>
          <p:cNvPicPr>
            <a:picLocks noChangeAspect="1"/>
          </p:cNvPicPr>
          <p:nvPr/>
        </p:nvPicPr>
        <p:blipFill>
          <a:blip r:embed="rId3" cstate="print"/>
          <a:srcRect t="-2110" b="-998"/>
          <a:stretch>
            <a:fillRect/>
          </a:stretch>
        </p:blipFill>
        <p:spPr bwMode="auto">
          <a:xfrm>
            <a:off x="11" y="-192617"/>
            <a:ext cx="9413875" cy="7050617"/>
          </a:xfrm>
          <a:prstGeom prst="rect">
            <a:avLst/>
          </a:prstGeom>
          <a:noFill/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400800" y="2717800"/>
            <a:ext cx="2514600" cy="3352800"/>
            <a:chOff x="5159829" y="1809750"/>
            <a:chExt cx="3374571" cy="2667000"/>
          </a:xfrm>
        </p:grpSpPr>
        <p:sp>
          <p:nvSpPr>
            <p:cNvPr id="5" name="Flowchart: Magnetic Disk 4"/>
            <p:cNvSpPr/>
            <p:nvPr/>
          </p:nvSpPr>
          <p:spPr bwMode="auto">
            <a:xfrm>
              <a:off x="6248400" y="3105150"/>
              <a:ext cx="152400" cy="1371600"/>
            </a:xfrm>
            <a:prstGeom prst="flowChartMagneticDisk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perspectiveHeroicExtremeLeftFacing" fov="5400000">
                <a:rot lat="21586305" lon="20348727" rev="59560"/>
              </a:camera>
              <a:lightRig rig="soft" dir="t"/>
            </a:scene3d>
            <a:sp3d prstMaterial="plastic">
              <a:bevelT/>
            </a:sp3d>
          </p:spPr>
          <p:txBody>
            <a:bodyPr tIns="91440" bIns="91440" anchor="ctr"/>
            <a:lstStyle/>
            <a:p>
              <a:pPr algn="ctr" defTabSz="889000" fontAlgn="base">
                <a:defRPr/>
              </a:pPr>
              <a:endParaRPr lang="en-US" sz="28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Flowchart: Magnetic Disk 5"/>
            <p:cNvSpPr/>
            <p:nvPr/>
          </p:nvSpPr>
          <p:spPr bwMode="auto">
            <a:xfrm>
              <a:off x="7086600" y="3028950"/>
              <a:ext cx="152400" cy="1371600"/>
            </a:xfrm>
            <a:prstGeom prst="flowChartMagneticDisk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perspectiveHeroicExtremeLeftFacing" fov="5400000">
                <a:rot lat="21586305" lon="20348727" rev="59560"/>
              </a:camera>
              <a:lightRig rig="soft" dir="t"/>
            </a:scene3d>
            <a:sp3d prstMaterial="plastic">
              <a:bevelT/>
            </a:sp3d>
          </p:spPr>
          <p:txBody>
            <a:bodyPr tIns="91440" bIns="91440" anchor="ctr"/>
            <a:lstStyle/>
            <a:p>
              <a:pPr algn="ctr" defTabSz="889000" fontAlgn="base">
                <a:defRPr/>
              </a:pPr>
              <a:endParaRPr lang="en-US" sz="2800" b="1" dirty="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5159829" y="1809750"/>
              <a:ext cx="3374571" cy="1524000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400000">
                <a:rot lat="21586305" lon="20348727" rev="59560"/>
              </a:camera>
              <a:lightRig rig="soft" dir="t"/>
            </a:scene3d>
            <a:sp3d prstMaterial="plastic">
              <a:bevelT/>
            </a:sp3d>
          </p:spPr>
          <p:txBody>
            <a:bodyPr tIns="91440" bIns="91440" anchor="ctr"/>
            <a:lstStyle/>
            <a:p>
              <a:pPr algn="ctr" defTabSz="889000" fontAlgn="base">
                <a:defRPr/>
              </a:pPr>
              <a:r>
                <a:rPr lang="en-US" sz="2800" b="1" dirty="0">
                  <a:solidFill>
                    <a:srgbClr val="FFFFFF"/>
                  </a:solidFill>
                </a:rPr>
                <a:t>Journey</a:t>
              </a:r>
            </a:p>
          </p:txBody>
        </p:sp>
      </p:grpSp>
      <p:sp>
        <p:nvSpPr>
          <p:cNvPr id="11" name="AutoShape 4"/>
          <p:cNvSpPr/>
          <p:nvPr/>
        </p:nvSpPr>
        <p:spPr bwMode="auto">
          <a:xfrm>
            <a:off x="333912" y="990600"/>
            <a:ext cx="5943600" cy="5486400"/>
          </a:xfrm>
          <a:prstGeom prst="roundRect">
            <a:avLst/>
          </a:prstGeom>
          <a:solidFill>
            <a:schemeClr val="lt1">
              <a:alpha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/>
          <a:lstStyle/>
          <a:p>
            <a:pPr marL="444500" lvl="1" indent="-222250" defTabSz="88900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2000" b="1" kern="0" dirty="0" smtClean="0">
                <a:solidFill>
                  <a:srgbClr val="000000"/>
                </a:solidFill>
              </a:rPr>
              <a:t>		</a:t>
            </a:r>
            <a:r>
              <a:rPr lang="en-US" sz="2400" b="1" kern="0" dirty="0" smtClean="0">
                <a:solidFill>
                  <a:srgbClr val="000000"/>
                </a:solidFill>
              </a:rPr>
              <a:t>Overview</a:t>
            </a:r>
          </a:p>
          <a:p>
            <a:pPr marL="444500" lvl="1" indent="-222250" defTabSz="889000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600" b="1" kern="0" dirty="0">
              <a:solidFill>
                <a:srgbClr val="000000"/>
              </a:solidFill>
            </a:endParaRPr>
          </a:p>
          <a:p>
            <a:pPr marL="431800" lvl="1" indent="-222250" defTabSz="889000" fontAlgn="base">
              <a:spcBef>
                <a:spcPct val="20000"/>
              </a:spcBef>
              <a:spcAft>
                <a:spcPct val="0"/>
              </a:spcAft>
              <a:buFont typeface="Trebuchet MS" pitchFamily="34" charset="0"/>
              <a:buChar char="–"/>
              <a:defRPr/>
            </a:pPr>
            <a:r>
              <a:rPr lang="en-US" sz="2400" b="1" kern="0" dirty="0" smtClean="0">
                <a:solidFill>
                  <a:srgbClr val="000000"/>
                </a:solidFill>
              </a:rPr>
              <a:t>Three </a:t>
            </a:r>
            <a:r>
              <a:rPr lang="en-US" sz="2400" b="1" kern="0" dirty="0">
                <a:solidFill>
                  <a:srgbClr val="000000"/>
                </a:solidFill>
              </a:rPr>
              <a:t>major product lines </a:t>
            </a:r>
            <a:r>
              <a:rPr lang="en-US" sz="2400" b="1" kern="0" dirty="0" smtClean="0">
                <a:solidFill>
                  <a:srgbClr val="000000"/>
                </a:solidFill>
              </a:rPr>
              <a:t>– Planning, Operations and Reservations</a:t>
            </a:r>
          </a:p>
          <a:p>
            <a:pPr marL="431800" lvl="1" indent="-222250" defTabSz="889000" fontAlgn="base">
              <a:spcBef>
                <a:spcPct val="20000"/>
              </a:spcBef>
              <a:spcAft>
                <a:spcPct val="0"/>
              </a:spcAft>
              <a:buFont typeface="Trebuchet MS" pitchFamily="34" charset="0"/>
              <a:buChar char="–"/>
              <a:defRPr/>
            </a:pPr>
            <a:endParaRPr lang="en-US" sz="2000" b="1" kern="0" dirty="0" smtClean="0">
              <a:solidFill>
                <a:srgbClr val="000000"/>
              </a:solidFill>
            </a:endParaRPr>
          </a:p>
          <a:p>
            <a:pPr marL="431800" lvl="1" indent="-222250" defTabSz="889000" fontAlgn="base">
              <a:spcBef>
                <a:spcPct val="20000"/>
              </a:spcBef>
              <a:spcAft>
                <a:spcPct val="0"/>
              </a:spcAft>
              <a:buFont typeface="Trebuchet MS" pitchFamily="34" charset="0"/>
              <a:buChar char="–"/>
              <a:defRPr/>
            </a:pPr>
            <a:r>
              <a:rPr lang="en-US" sz="2400" b="1" kern="0" dirty="0" smtClean="0">
                <a:solidFill>
                  <a:srgbClr val="000000"/>
                </a:solidFill>
              </a:rPr>
              <a:t>1400+ technology team members in three </a:t>
            </a:r>
            <a:r>
              <a:rPr lang="en-US" sz="2400" b="1" kern="0" dirty="0">
                <a:solidFill>
                  <a:srgbClr val="000000"/>
                </a:solidFill>
              </a:rPr>
              <a:t>primary locations </a:t>
            </a:r>
            <a:r>
              <a:rPr lang="en-US" sz="2400" b="1" kern="0" dirty="0" smtClean="0">
                <a:solidFill>
                  <a:srgbClr val="000000"/>
                </a:solidFill>
              </a:rPr>
              <a:t>(50% growth YOY </a:t>
            </a:r>
            <a:r>
              <a:rPr lang="en-US" sz="2400" b="1" kern="0" dirty="0">
                <a:solidFill>
                  <a:srgbClr val="000000"/>
                </a:solidFill>
              </a:rPr>
              <a:t>for three years</a:t>
            </a:r>
            <a:r>
              <a:rPr lang="en-US" sz="2400" b="1" kern="0" dirty="0" smtClean="0">
                <a:solidFill>
                  <a:srgbClr val="000000"/>
                </a:solidFill>
              </a:rPr>
              <a:t>)</a:t>
            </a:r>
          </a:p>
          <a:p>
            <a:pPr marL="431800" lvl="1" indent="-222250" defTabSz="889000" fontAlgn="base">
              <a:spcBef>
                <a:spcPct val="20000"/>
              </a:spcBef>
              <a:spcAft>
                <a:spcPct val="0"/>
              </a:spcAft>
              <a:buFont typeface="Trebuchet MS" pitchFamily="34" charset="0"/>
              <a:buChar char="–"/>
              <a:defRPr/>
            </a:pPr>
            <a:endParaRPr lang="en-US" sz="2400" b="1" kern="0" dirty="0" smtClean="0">
              <a:solidFill>
                <a:srgbClr val="000000"/>
              </a:solidFill>
            </a:endParaRPr>
          </a:p>
          <a:p>
            <a:pPr marL="431800" lvl="1" indent="-222250" defTabSz="889000" fontAlgn="base">
              <a:spcBef>
                <a:spcPct val="20000"/>
              </a:spcBef>
              <a:spcAft>
                <a:spcPct val="0"/>
              </a:spcAft>
              <a:buFont typeface="Trebuchet MS" pitchFamily="34" charset="0"/>
              <a:buChar char="–"/>
              <a:defRPr/>
            </a:pPr>
            <a:r>
              <a:rPr lang="en-US" sz="2400" b="1" kern="0" dirty="0" smtClean="0">
                <a:solidFill>
                  <a:srgbClr val="000000"/>
                </a:solidFill>
              </a:rPr>
              <a:t>Wide </a:t>
            </a:r>
            <a:r>
              <a:rPr lang="en-US" sz="2400" b="1" kern="0" dirty="0">
                <a:solidFill>
                  <a:srgbClr val="000000"/>
                </a:solidFill>
              </a:rPr>
              <a:t>diversity </a:t>
            </a:r>
            <a:r>
              <a:rPr lang="en-US" sz="2400" b="1" kern="0" dirty="0" smtClean="0">
                <a:solidFill>
                  <a:srgbClr val="000000"/>
                </a:solidFill>
              </a:rPr>
              <a:t>of technology </a:t>
            </a:r>
            <a:r>
              <a:rPr lang="en-US" sz="2400" b="1" kern="0" dirty="0">
                <a:solidFill>
                  <a:srgbClr val="000000"/>
                </a:solidFill>
              </a:rPr>
              <a:t>driving need for a variety of specialized technical </a:t>
            </a:r>
            <a:r>
              <a:rPr lang="en-US" sz="2400" b="1" kern="0" dirty="0" smtClean="0">
                <a:solidFill>
                  <a:srgbClr val="000000"/>
                </a:solidFill>
              </a:rPr>
              <a:t>skills across locations  </a:t>
            </a:r>
            <a:endParaRPr lang="en-US" sz="2400" b="1" kern="0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3400" y="207296"/>
            <a:ext cx="66043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rgbClr val="FFFFFF"/>
                </a:solidFill>
              </a:rPr>
              <a:t>Case Study: </a:t>
            </a:r>
            <a:r>
              <a:rPr lang="en-US" sz="4000" b="1" dirty="0" smtClean="0">
                <a:solidFill>
                  <a:srgbClr val="FFFFFF"/>
                </a:solidFill>
              </a:rPr>
              <a:t>Agile Teams Sabre</a:t>
            </a:r>
            <a:endParaRPr lang="en-US" sz="4000" b="1" dirty="0">
              <a:solidFill>
                <a:srgbClr val="FFFFFF"/>
              </a:solidFill>
            </a:endParaRPr>
          </a:p>
        </p:txBody>
      </p:sp>
      <p:pic>
        <p:nvPicPr>
          <p:cNvPr id="10" name="Picture 9" descr="SabreAS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505200" y="1219200"/>
            <a:ext cx="2070624" cy="926632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97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228600"/>
            <a:ext cx="7543800" cy="919162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4000" b="1" dirty="0" smtClean="0"/>
              <a:t>Airline Solutions Agile Fast Facts</a:t>
            </a:r>
            <a:endParaRPr lang="en-US" sz="4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prstClr val="black"/>
              </a:buClr>
              <a:defRPr/>
            </a:pPr>
            <a:fld id="{33CA7F91-A638-47ED-A07A-F1AE47B40A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utoShape 4"/>
          <p:cNvSpPr/>
          <p:nvPr/>
        </p:nvSpPr>
        <p:spPr bwMode="auto">
          <a:xfrm>
            <a:off x="762000" y="1066800"/>
            <a:ext cx="7467600" cy="548640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8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/>
          <a:lstStyle/>
          <a:p>
            <a:pPr>
              <a:spcAft>
                <a:spcPct val="13000"/>
              </a:spcAft>
              <a:buFont typeface="Arial" pitchFamily="34" charset="0"/>
              <a:buChar char="•"/>
            </a:pPr>
            <a:r>
              <a:rPr lang="en-US" sz="2400" b="1" dirty="0" smtClean="0"/>
              <a:t>Practicing Agile for eight years</a:t>
            </a:r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endParaRPr lang="en-US" sz="2000" b="1" dirty="0" smtClean="0"/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r>
              <a:rPr lang="en-US" sz="2400" b="1" dirty="0" smtClean="0"/>
              <a:t>Teams reached maturity state in practicing Agile principles using different methods </a:t>
            </a:r>
          </a:p>
          <a:p>
            <a:pPr lvl="1">
              <a:spcAft>
                <a:spcPct val="13000"/>
              </a:spcAft>
              <a:buFont typeface="Arial" pitchFamily="34" charset="0"/>
              <a:buChar char="•"/>
            </a:pPr>
            <a:endParaRPr lang="en-US" sz="2400" b="1" dirty="0" smtClean="0"/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r>
              <a:rPr lang="en-US" sz="2400" b="1" dirty="0" smtClean="0"/>
              <a:t>Team members periodically attended training, conferences</a:t>
            </a:r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endParaRPr lang="en-US" sz="2000" b="1" dirty="0" smtClean="0"/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r>
              <a:rPr lang="en-US" sz="2400" b="1" dirty="0" smtClean="0"/>
              <a:t>Kept internal coaching staff of 3-4 coaches across locations </a:t>
            </a:r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endParaRPr lang="en-US" sz="2000" b="1" dirty="0" smtClean="0"/>
          </a:p>
          <a:p>
            <a:r>
              <a:rPr lang="en-US" sz="2000" b="1" i="1" dirty="0" smtClean="0"/>
              <a:t>Then……</a:t>
            </a:r>
            <a:endParaRPr lang="en-US" sz="2000" b="1" dirty="0" smtClean="0"/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r>
              <a:rPr lang="en-US" sz="2400" b="1" dirty="0" smtClean="0"/>
              <a:t>Noticed slippage in teams practicing Agile</a:t>
            </a:r>
          </a:p>
          <a:p>
            <a:pPr>
              <a:spcAft>
                <a:spcPct val="13000"/>
              </a:spcAft>
              <a:buFont typeface="Arial" pitchFamily="34" charset="0"/>
              <a:buChar char="•"/>
            </a:pPr>
            <a:endParaRPr lang="en-US" sz="2000" b="1" dirty="0" smtClean="0"/>
          </a:p>
          <a:p>
            <a:pPr>
              <a:buFontTx/>
              <a:buNone/>
            </a:pPr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 flipV="1">
            <a:off x="7924800" y="6693932"/>
            <a:ext cx="9144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6629400"/>
            <a:ext cx="13716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/>
          <p:nvPr/>
        </p:nvSpPr>
        <p:spPr bwMode="auto">
          <a:xfrm>
            <a:off x="0" y="2514600"/>
            <a:ext cx="9144000" cy="1320800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9525" cap="flat" cmpd="sng" algn="ctr">
            <a:solidFill>
              <a:srgbClr val="BBC9E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rIns="822960" bIns="91440" anchor="ctr"/>
          <a:lstStyle/>
          <a:p>
            <a:pPr algn="r" defTabSz="889000" fontAlgn="base">
              <a:defRPr/>
            </a:pPr>
            <a:r>
              <a:rPr lang="en-US" sz="4000" b="1" dirty="0">
                <a:solidFill>
                  <a:srgbClr val="FFFFFF"/>
                </a:solidFill>
              </a:rPr>
              <a:t>All the right “pieces”</a:t>
            </a:r>
          </a:p>
        </p:txBody>
      </p:sp>
      <p:pic>
        <p:nvPicPr>
          <p:cNvPr id="29700" name="Picture 4" descr="http://3.bp.blogspot.com/_RKpjMnzcQZg/ShrXvR-ZZwI/AAAAAAAAA6o/qCPFxmusPL0/s400/everyday-thing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584200"/>
            <a:ext cx="3505200" cy="4673600"/>
          </a:xfrm>
          <a:prstGeom prst="rect">
            <a:avLst/>
          </a:prstGeom>
          <a:noFill/>
        </p:spPr>
      </p:pic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914400" y="5655740"/>
            <a:ext cx="457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- “The Design of Everyday things”</a:t>
            </a:r>
            <a:br>
              <a:rPr lang="en-US" sz="1200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</a:rPr>
              <a:t>                       by Donald Norman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prstClr val="black"/>
              </a:buClr>
              <a:defRPr/>
            </a:pPr>
            <a:fld id="{33CA7F91-A638-47ED-A07A-F1AE47B40A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  <a:defRPr/>
              </a:pPr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97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410960"/>
            <a:ext cx="9144000" cy="2011160"/>
          </a:xfr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en-US" i="1" dirty="0" smtClean="0"/>
              <a:t/>
            </a:r>
            <a:br>
              <a:rPr lang="en-US" i="1" dirty="0" smtClean="0"/>
            </a:br>
            <a:r>
              <a:rPr lang="en-US" i="1" dirty="0" smtClean="0"/>
              <a:t>   </a:t>
            </a:r>
            <a:br>
              <a:rPr lang="en-US" i="1" dirty="0" smtClean="0"/>
            </a:br>
            <a:r>
              <a:rPr lang="en-US" i="1" dirty="0" smtClean="0"/>
              <a:t> </a:t>
            </a:r>
            <a:r>
              <a:rPr lang="en-US" sz="3600" i="1" dirty="0" smtClean="0"/>
              <a:t>My</a:t>
            </a:r>
            <a:r>
              <a:rPr lang="en-US" sz="3600" dirty="0" smtClean="0"/>
              <a:t> Agile Team Experienced Success – </a:t>
            </a:r>
            <a:br>
              <a:rPr lang="en-US" sz="3600" dirty="0" smtClean="0"/>
            </a:br>
            <a:r>
              <a:rPr lang="en-US" sz="3600" dirty="0" smtClean="0"/>
              <a:t>   how &amp; what changed?</a:t>
            </a:r>
            <a:br>
              <a:rPr lang="en-US" sz="3600" dirty="0" smtClean="0"/>
            </a:br>
            <a:r>
              <a:rPr lang="en-US" sz="2800" dirty="0" smtClean="0"/>
              <a:t> </a:t>
            </a:r>
            <a:br>
              <a:rPr lang="en-US" sz="2800" dirty="0" smtClean="0"/>
            </a:br>
            <a:endParaRPr lang="en-US" sz="2800" dirty="0"/>
          </a:p>
        </p:txBody>
      </p:sp>
      <p:pic>
        <p:nvPicPr>
          <p:cNvPr id="61453" name="Picture 13" descr="C:\Users\sg0000714\AppData\Local\Microsoft\Windows\Temporary Internet Files\Content.IE5\HUF7ZYBL\MP900438829[1]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29200" y="2514600"/>
            <a:ext cx="4114800" cy="2942191"/>
          </a:xfrm>
          <a:prstGeom prst="rightArrow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1449" name="Picture 9" descr="C:\Users\sg0000714\AppData\Local\Microsoft\Windows\Temporary Internet Files\Content.IE5\HUF7ZYBL\MP900316812[1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1000" y="2057400"/>
            <a:ext cx="3962400" cy="274320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8" name="TextBox 17"/>
          <p:cNvSpPr txBox="1"/>
          <p:nvPr/>
        </p:nvSpPr>
        <p:spPr>
          <a:xfrm>
            <a:off x="4953000" y="2590800"/>
            <a:ext cx="2362200" cy="61293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 smtClean="0"/>
              <a:t>Resources move &amp; it changes the “team”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8534400" y="6488668"/>
            <a:ext cx="18473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1" name="Picture 6" descr="http://media2.picsearch.com/is?4sr1y8_XDWPOkXqFl0AH8DU3c39Ur_2FhzUgZVommbQ&amp;height=341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71600" y="2057400"/>
            <a:ext cx="1828800" cy="2747230"/>
          </a:xfrm>
          <a:prstGeom prst="rect">
            <a:avLst/>
          </a:prstGeom>
          <a:noFill/>
        </p:spPr>
      </p:pic>
      <p:sp>
        <p:nvSpPr>
          <p:cNvPr id="12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614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614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3" dur="indefinite"/>
                                        <p:tgtEl>
                                          <p:spTgt spid="6144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4" dur="indefinite"/>
                                        <p:tgtEl>
                                          <p:spTgt spid="61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81000" y="6673334"/>
            <a:ext cx="20574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534400" y="6488668"/>
            <a:ext cx="18473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1860" name="Picture 4" descr="http://www.thespeechconnection.com/wp-content/uploads/2013/04/Pulling-your-hair-out-gir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71600" y="1219200"/>
            <a:ext cx="6848475" cy="4572000"/>
          </a:xfrm>
          <a:prstGeom prst="round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3048000" y="5791200"/>
            <a:ext cx="3009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/>
              <a:t>What now?</a:t>
            </a:r>
            <a:endParaRPr lang="en-US" sz="44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Change.jp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lum bright="-13000" contrast="20000"/>
          </a:blip>
          <a:stretch>
            <a:fillRect/>
          </a:stretch>
        </p:blipFill>
        <p:spPr>
          <a:xfrm>
            <a:off x="0" y="0"/>
            <a:ext cx="9144000" cy="6858000"/>
          </a:xfr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"/>
            <a:ext cx="9144000" cy="8123767"/>
          </a:xfrm>
          <a:prstGeom prst="rect">
            <a:avLst/>
          </a:prstGeom>
          <a:noFill/>
        </p:spPr>
      </p:pic>
      <p:sp>
        <p:nvSpPr>
          <p:cNvPr id="5" name="Text Box 3"/>
          <p:cNvSpPr txBox="1">
            <a:spLocks/>
          </p:cNvSpPr>
          <p:nvPr/>
        </p:nvSpPr>
        <p:spPr bwMode="auto">
          <a:xfrm>
            <a:off x="2438400" y="1151468"/>
            <a:ext cx="6096000" cy="13631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en-US" sz="3600" b="0" dirty="0" smtClean="0">
                <a:solidFill>
                  <a:srgbClr val="000000"/>
                </a:solidFill>
                <a:latin typeface="Arial Black" pitchFamily="34" charset="0"/>
              </a:rPr>
              <a:t>Herding the Converted</a:t>
            </a:r>
            <a:endParaRPr lang="en-US" sz="5400" b="0" dirty="0">
              <a:solidFill>
                <a:srgbClr val="000000"/>
              </a:solidFill>
              <a:latin typeface="Arial Black" pitchFamily="34" charset="0"/>
              <a:cs typeface="Arial"/>
            </a:endParaRPr>
          </a:p>
        </p:txBody>
      </p:sp>
      <p:sp>
        <p:nvSpPr>
          <p:cNvPr id="19460" name="Rectangle 4"/>
          <p:cNvSpPr>
            <a:spLocks noChangeArrowheads="1"/>
          </p:cNvSpPr>
          <p:nvPr/>
        </p:nvSpPr>
        <p:spPr bwMode="auto">
          <a:xfrm>
            <a:off x="76200" y="5981706"/>
            <a:ext cx="8839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>
                <a:solidFill>
                  <a:srgbClr val="FFFFFF"/>
                </a:solidFill>
                <a:latin typeface="Buxton Sketch" charset="0"/>
              </a:rPr>
              <a:t>Lay foundation for establishing a common Agile development culture</a:t>
            </a:r>
          </a:p>
        </p:txBody>
      </p:sp>
      <p:sp>
        <p:nvSpPr>
          <p:cNvPr id="3" name="AutoShape 5"/>
          <p:cNvSpPr/>
          <p:nvPr/>
        </p:nvSpPr>
        <p:spPr bwMode="auto">
          <a:xfrm>
            <a:off x="2971800" y="1833033"/>
            <a:ext cx="5562600" cy="3272367"/>
          </a:xfrm>
          <a:prstGeom prst="roundRect">
            <a:avLst/>
          </a:prstGeom>
          <a:solidFill>
            <a:schemeClr val="lt1">
              <a:alpha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/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1F497D"/>
                </a:solidFill>
                <a:latin typeface="Buxton Sketch" charset="0"/>
              </a:rPr>
              <a:t>Three </a:t>
            </a:r>
            <a:r>
              <a:rPr lang="en-US" sz="2400" b="1" dirty="0">
                <a:solidFill>
                  <a:srgbClr val="1F497D"/>
                </a:solidFill>
                <a:latin typeface="Buxton Sketch" charset="0"/>
              </a:rPr>
              <a:t>key </a:t>
            </a:r>
            <a:r>
              <a:rPr lang="en-US" sz="2400" b="1" dirty="0" smtClean="0">
                <a:solidFill>
                  <a:srgbClr val="1F497D"/>
                </a:solidFill>
                <a:latin typeface="Buxton Sketch" charset="0"/>
              </a:rPr>
              <a:t>decisions </a:t>
            </a:r>
            <a:endParaRPr lang="en-US" sz="2400" b="1" dirty="0">
              <a:solidFill>
                <a:srgbClr val="1F497D"/>
              </a:solidFill>
              <a:latin typeface="Buxton Sketch" charset="0"/>
            </a:endParaRP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endParaRPr lang="en-US" sz="2400" b="1" dirty="0" smtClean="0">
              <a:solidFill>
                <a:srgbClr val="000000"/>
              </a:solidFill>
            </a:endParaRP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Executive sponsorship</a:t>
            </a: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000000"/>
              </a:solidFill>
            </a:endParaRP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Baseline</a:t>
            </a: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</a:rPr>
              <a:t> </a:t>
            </a:r>
            <a:endParaRPr lang="en-US" sz="2400" b="1" dirty="0">
              <a:solidFill>
                <a:srgbClr val="000000"/>
              </a:solidFill>
            </a:endParaRPr>
          </a:p>
          <a:p>
            <a:pPr lvl="2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0000"/>
                </a:solidFill>
              </a:rPr>
              <a:t>Iterative rollout with early succes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 txBox="1">
            <a:spLocks/>
          </p:cNvSpPr>
          <p:nvPr/>
        </p:nvSpPr>
        <p:spPr>
          <a:xfrm>
            <a:off x="8559800" y="6675437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 animBg="1"/>
      <p:bldP spid="3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farm4.static.flickr.com/3108/2852375400_3663673c77_b.jpg"/>
          <p:cNvPicPr>
            <a:picLocks noChangeAspect="1" noChangeArrowheads="1"/>
          </p:cNvPicPr>
          <p:nvPr/>
        </p:nvPicPr>
        <p:blipFill>
          <a:blip r:embed="rId3" cstate="print"/>
          <a:srcRect l="6248" t="-8" b="19891"/>
          <a:stretch>
            <a:fillRect/>
          </a:stretch>
        </p:blipFill>
        <p:spPr bwMode="auto">
          <a:xfrm>
            <a:off x="0" y="-35980"/>
            <a:ext cx="9144000" cy="6951135"/>
          </a:xfrm>
          <a:prstGeom prst="rect">
            <a:avLst/>
          </a:prstGeom>
          <a:noFill/>
        </p:spPr>
      </p:pic>
      <p:sp>
        <p:nvSpPr>
          <p:cNvPr id="5" name="Text Box 3"/>
          <p:cNvSpPr txBox="1">
            <a:spLocks/>
          </p:cNvSpPr>
          <p:nvPr/>
        </p:nvSpPr>
        <p:spPr bwMode="auto">
          <a:xfrm>
            <a:off x="838200" y="5418668"/>
            <a:ext cx="7315200" cy="13631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en-US" sz="3600" b="0" dirty="0" smtClean="0">
                <a:solidFill>
                  <a:srgbClr val="000000"/>
                </a:solidFill>
                <a:latin typeface="Arial Black" pitchFamily="34" charset="0"/>
              </a:rPr>
              <a:t>Winning over the skeptics</a:t>
            </a:r>
            <a:endParaRPr lang="en-US" sz="5400" b="0" dirty="0">
              <a:solidFill>
                <a:srgbClr val="000000"/>
              </a:solidFill>
              <a:latin typeface="Arial Black" pitchFamily="34" charset="0"/>
              <a:cs typeface="Arial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76200" y="5981701"/>
            <a:ext cx="88392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800">
                <a:solidFill>
                  <a:srgbClr val="1F497D"/>
                </a:solidFill>
                <a:latin typeface="Buxton Sketch" charset="0"/>
              </a:rPr>
              <a:t>Wanted:</a:t>
            </a:r>
            <a:r>
              <a:rPr lang="en-US" sz="2800">
                <a:solidFill>
                  <a:srgbClr val="000000"/>
                </a:solidFill>
                <a:latin typeface="Buxton Sketch" charset="0"/>
              </a:rPr>
              <a:t> Buy In, not compliance</a:t>
            </a:r>
          </a:p>
        </p:txBody>
      </p:sp>
      <p:sp useBgFill="1">
        <p:nvSpPr>
          <p:cNvPr id="2" name="AutoShape 5"/>
          <p:cNvSpPr/>
          <p:nvPr/>
        </p:nvSpPr>
        <p:spPr bwMode="auto">
          <a:xfrm>
            <a:off x="152400" y="254000"/>
            <a:ext cx="7467600" cy="62992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dirty="0" smtClean="0">
              <a:solidFill>
                <a:srgbClr val="1F497D"/>
              </a:solidFill>
              <a:latin typeface="Buxton Sketch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1F497D"/>
                </a:solidFill>
                <a:latin typeface="Buxton Sketch" charset="0"/>
              </a:rPr>
              <a:t>Software </a:t>
            </a:r>
            <a:r>
              <a:rPr lang="en-US" sz="2800" b="1" dirty="0">
                <a:solidFill>
                  <a:srgbClr val="1F497D"/>
                </a:solidFill>
                <a:latin typeface="Buxton Sketch" charset="0"/>
              </a:rPr>
              <a:t>process mandates usually fail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000000"/>
                </a:solidFill>
              </a:rPr>
              <a:t>Process  change </a:t>
            </a:r>
            <a:r>
              <a:rPr lang="en-US" sz="2400" dirty="0" smtClean="0">
                <a:solidFill>
                  <a:srgbClr val="000000"/>
                </a:solidFill>
              </a:rPr>
              <a:t>has to accurately </a:t>
            </a:r>
            <a:r>
              <a:rPr lang="en-US" sz="2400" dirty="0">
                <a:solidFill>
                  <a:srgbClr val="000000"/>
                </a:solidFill>
              </a:rPr>
              <a:t>address the needs of those performing the work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000000"/>
                </a:solidFill>
              </a:rPr>
              <a:t>Need </a:t>
            </a:r>
            <a:r>
              <a:rPr lang="en-US" sz="2400" dirty="0">
                <a:solidFill>
                  <a:srgbClr val="000000"/>
                </a:solidFill>
              </a:rPr>
              <a:t>change </a:t>
            </a:r>
            <a:r>
              <a:rPr lang="en-US" sz="2400" dirty="0" smtClean="0">
                <a:solidFill>
                  <a:srgbClr val="000000"/>
                </a:solidFill>
              </a:rPr>
              <a:t>leadership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F497D"/>
                </a:solidFill>
                <a:latin typeface="Buxton Sketch" charset="0"/>
              </a:rPr>
              <a:t>Focus on development cultur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000000"/>
                </a:solidFill>
              </a:rPr>
              <a:t>Give time for team to socialize chang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000000"/>
                </a:solidFill>
              </a:rPr>
              <a:t>Focus </a:t>
            </a:r>
            <a:r>
              <a:rPr lang="en-US" sz="2400" dirty="0">
                <a:solidFill>
                  <a:srgbClr val="000000"/>
                </a:solidFill>
              </a:rPr>
              <a:t>on immediate problems; seek early succes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000000"/>
                </a:solidFill>
              </a:rPr>
              <a:t>Want </a:t>
            </a:r>
            <a:r>
              <a:rPr lang="en-US" sz="2400" dirty="0">
                <a:solidFill>
                  <a:srgbClr val="000000"/>
                </a:solidFill>
              </a:rPr>
              <a:t>buy-in; not </a:t>
            </a:r>
            <a:r>
              <a:rPr lang="en-US" sz="2400" dirty="0" smtClean="0">
                <a:solidFill>
                  <a:srgbClr val="000000"/>
                </a:solidFill>
              </a:rPr>
              <a:t>complianc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8" name="Text Box 6"/>
          <p:cNvSpPr txBox="1">
            <a:spLocks/>
          </p:cNvSpPr>
          <p:nvPr/>
        </p:nvSpPr>
        <p:spPr bwMode="auto">
          <a:xfrm>
            <a:off x="-381000" y="457201"/>
            <a:ext cx="7315200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en-US" sz="3600" b="0" dirty="0" smtClean="0">
                <a:solidFill>
                  <a:srgbClr val="000000"/>
                </a:solidFill>
                <a:latin typeface="Arial Black" pitchFamily="34" charset="0"/>
              </a:rPr>
              <a:t>Winning over the skeptics</a:t>
            </a:r>
            <a:endParaRPr lang="en-US" sz="5400" b="0" dirty="0">
              <a:solidFill>
                <a:srgbClr val="000000"/>
              </a:solidFill>
              <a:latin typeface="Arial Black" pitchFamily="34" charset="0"/>
              <a:cs typeface="Arial"/>
            </a:endParaRP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559800" y="6356350"/>
            <a:ext cx="58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33CA7F91-A638-47ED-A07A-F1AE47B40A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2" grpId="0" animBg="1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aS3mDqUC3m7ZSgnud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zzBPS9dU.4aiR2.rde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sOKL2cWkqWiXkIJwGo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ac5CAM00q0nhljxgHG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7KBHnMqUuOfAbqwt07CQ"/>
</p:tagLst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jpeg"/></Relationships>
</file>

<file path=ppt/theme/theme1.xml><?xml version="1.0" encoding="utf-8"?>
<a:theme xmlns:a="http://schemas.openxmlformats.org/drawingml/2006/main" name="AS_2011_Internal_22JUL_template">
  <a:themeElements>
    <a:clrScheme name="AS_Internal_Colors_2011 1">
      <a:dk1>
        <a:srgbClr val="000000"/>
      </a:dk1>
      <a:lt1>
        <a:srgbClr val="FFFFFF"/>
      </a:lt1>
      <a:dk2>
        <a:srgbClr val="000000"/>
      </a:dk2>
      <a:lt2>
        <a:srgbClr val="666666"/>
      </a:lt2>
      <a:accent1>
        <a:srgbClr val="E30000"/>
      </a:accent1>
      <a:accent2>
        <a:srgbClr val="E87511"/>
      </a:accent2>
      <a:accent3>
        <a:srgbClr val="6A9913"/>
      </a:accent3>
      <a:accent4>
        <a:srgbClr val="008C82"/>
      </a:accent4>
      <a:accent5>
        <a:srgbClr val="7F2860"/>
      </a:accent5>
      <a:accent6>
        <a:srgbClr val="054B99"/>
      </a:accent6>
      <a:hlink>
        <a:srgbClr val="0041F0"/>
      </a:hlink>
      <a:folHlink>
        <a:srgbClr val="6C00FF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75000"/>
          </a:schemeClr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3716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69696"/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3716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666666"/>
        </a:lt2>
        <a:accent1>
          <a:srgbClr val="FF0000"/>
        </a:accent1>
        <a:accent2>
          <a:srgbClr val="E87511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D2690E"/>
        </a:accent6>
        <a:hlink>
          <a:srgbClr val="0051BA"/>
        </a:hlink>
        <a:folHlink>
          <a:srgbClr val="7F28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riel">
  <a:themeElements>
    <a:clrScheme name="Oriel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Oriel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riel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6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Theme">
  <a:themeElements>
    <a:clrScheme name="SabreHoldings2010palette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3A75C4"/>
      </a:accent1>
      <a:accent2>
        <a:srgbClr val="D36D00"/>
      </a:accent2>
      <a:accent3>
        <a:srgbClr val="009900"/>
      </a:accent3>
      <a:accent4>
        <a:srgbClr val="703572"/>
      </a:accent4>
      <a:accent5>
        <a:srgbClr val="006D66"/>
      </a:accent5>
      <a:accent6>
        <a:srgbClr val="EFB22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  <a:effectLst>
          <a:reflection stA="41000" endPos="15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8.xml><?xml version="1.0" encoding="utf-8"?>
<a:theme xmlns:a="http://schemas.openxmlformats.org/drawingml/2006/main" name="3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4_Letter Blank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Letter 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4</Words>
  <Application>Microsoft Office PowerPoint</Application>
  <PresentationFormat>On-screen Show (4:3)</PresentationFormat>
  <Paragraphs>147</Paragraphs>
  <Slides>16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S_2011_Internal_22JUL_template</vt:lpstr>
      <vt:lpstr>2_Letter Blank</vt:lpstr>
      <vt:lpstr>5_Letter Blank</vt:lpstr>
      <vt:lpstr>Letter Blank</vt:lpstr>
      <vt:lpstr>6_Letter Blank</vt:lpstr>
      <vt:lpstr>1_Letter Blank</vt:lpstr>
      <vt:lpstr>1_Office Theme</vt:lpstr>
      <vt:lpstr>3_Letter Blank</vt:lpstr>
      <vt:lpstr>4_Letter Blank</vt:lpstr>
      <vt:lpstr>Office Theme</vt:lpstr>
      <vt:lpstr>Oriel</vt:lpstr>
      <vt:lpstr>think-cell Slide</vt:lpstr>
      <vt:lpstr>Lisa  Shoop</vt:lpstr>
      <vt:lpstr>PowerPoint Presentation</vt:lpstr>
      <vt:lpstr>Airline Solutions Agile Fast Facts</vt:lpstr>
      <vt:lpstr>PowerPoint Presentation</vt:lpstr>
      <vt:lpstr>      My Agile Team Experienced Success –     how &amp; what changed?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ile Simplicity</vt:lpstr>
      <vt:lpstr>PowerPoint Presentation</vt:lpstr>
      <vt:lpstr>PowerPoint Presentation</vt:lpstr>
      <vt:lpstr>KEY TAKE AWAYS</vt:lpstr>
      <vt:lpstr>PowerPoint Presentation</vt:lpstr>
      <vt:lpstr>Lisa Shoop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1-19T17:07:13Z</dcterms:created>
  <dcterms:modified xsi:type="dcterms:W3CDTF">2015-09-29T18:3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962535096</vt:i4>
  </property>
  <property fmtid="{D5CDD505-2E9C-101B-9397-08002B2CF9AE}" pid="3" name="_NewReviewCycle">
    <vt:lpwstr/>
  </property>
</Properties>
</file>